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1" r:id="rId5"/>
    <p:sldMasterId id="2147483694" r:id="rId6"/>
    <p:sldMasterId id="2147483708" r:id="rId7"/>
  </p:sldMasterIdLst>
  <p:notesMasterIdLst>
    <p:notesMasterId r:id="rId26"/>
  </p:notesMasterIdLst>
  <p:sldIdLst>
    <p:sldId id="256" r:id="rId8"/>
    <p:sldId id="2146846097" r:id="rId9"/>
    <p:sldId id="2636" r:id="rId10"/>
    <p:sldId id="2146846084" r:id="rId11"/>
    <p:sldId id="2146846085" r:id="rId12"/>
    <p:sldId id="2146846093" r:id="rId13"/>
    <p:sldId id="2146846099" r:id="rId14"/>
    <p:sldId id="2146846100" r:id="rId15"/>
    <p:sldId id="2146846101" r:id="rId16"/>
    <p:sldId id="2146846102" r:id="rId17"/>
    <p:sldId id="2146846103" r:id="rId18"/>
    <p:sldId id="2146846104" r:id="rId19"/>
    <p:sldId id="2146846108" r:id="rId20"/>
    <p:sldId id="2146846105" r:id="rId21"/>
    <p:sldId id="2146846107" r:id="rId22"/>
    <p:sldId id="2146846106" r:id="rId23"/>
    <p:sldId id="2146846109" r:id="rId24"/>
    <p:sldId id="2146846096" r:id="rId25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verview" id="{A744AA09-EDCF-40B0-9032-263B6676F5D8}">
          <p14:sldIdLst>
            <p14:sldId id="256"/>
            <p14:sldId id="2146846097"/>
            <p14:sldId id="2636"/>
            <p14:sldId id="2146846084"/>
            <p14:sldId id="2146846085"/>
            <p14:sldId id="2146846093"/>
            <p14:sldId id="2146846099"/>
            <p14:sldId id="2146846100"/>
            <p14:sldId id="2146846101"/>
            <p14:sldId id="2146846102"/>
            <p14:sldId id="2146846103"/>
            <p14:sldId id="2146846104"/>
            <p14:sldId id="2146846108"/>
            <p14:sldId id="2146846105"/>
            <p14:sldId id="2146846107"/>
            <p14:sldId id="2146846106"/>
            <p14:sldId id="2146846109"/>
            <p14:sldId id="2146846096"/>
          </p14:sldIdLst>
        </p14:section>
        <p14:section name="OLD" id="{8DA52F32-7313-46A0-B9BD-32A46406BC67}">
          <p14:sldIdLst/>
        </p14:section>
        <p14:section name="Draft" id="{6451D3AD-F489-4DD4-91C0-0EE17939D886}">
          <p14:sldIdLst/>
        </p14:section>
        <p14:section name="Research" id="{7054C572-E0F1-4EA9-AE5D-DE12C3F449E7}">
          <p14:sldIdLst/>
        </p14:section>
        <p14:section name="Estimates" id="{419E7BE9-7BC5-460A-B978-9368684A9E12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EA8"/>
    <a:srgbClr val="9C7400"/>
    <a:srgbClr val="D9DA67"/>
    <a:srgbClr val="E1D5E7"/>
    <a:srgbClr val="FDD901"/>
    <a:srgbClr val="3ABAB6"/>
    <a:srgbClr val="D9D9D9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59F78E-0E90-4D33-86BF-9F4CCB76A359}" v="108" dt="2021-02-08T08:43:15.94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75" y="19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8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ysemans, Stijn" userId="47302815-14f0-4944-a346-9c5ba16265db" providerId="ADAL" clId="{3A59F78E-0E90-4D33-86BF-9F4CCB76A359}"/>
    <pc:docChg chg="undo custSel addSld delSld modSld modSection">
      <pc:chgData name="Gysemans, Stijn" userId="47302815-14f0-4944-a346-9c5ba16265db" providerId="ADAL" clId="{3A59F78E-0E90-4D33-86BF-9F4CCB76A359}" dt="2021-02-08T09:21:41.593" v="5148" actId="478"/>
      <pc:docMkLst>
        <pc:docMk/>
      </pc:docMkLst>
      <pc:sldChg chg="modSp mod">
        <pc:chgData name="Gysemans, Stijn" userId="47302815-14f0-4944-a346-9c5ba16265db" providerId="ADAL" clId="{3A59F78E-0E90-4D33-86BF-9F4CCB76A359}" dt="2021-02-05T10:06:05.391" v="8" actId="20577"/>
        <pc:sldMkLst>
          <pc:docMk/>
          <pc:sldMk cId="3262617400" sldId="256"/>
        </pc:sldMkLst>
        <pc:spChg chg="mod">
          <ac:chgData name="Gysemans, Stijn" userId="47302815-14f0-4944-a346-9c5ba16265db" providerId="ADAL" clId="{3A59F78E-0E90-4D33-86BF-9F4CCB76A359}" dt="2021-02-05T10:06:05.391" v="8" actId="20577"/>
          <ac:spMkLst>
            <pc:docMk/>
            <pc:sldMk cId="3262617400" sldId="256"/>
            <ac:spMk id="12" creationId="{0047E1DE-9DFF-4FA7-AECA-7D0EF022D721}"/>
          </ac:spMkLst>
        </pc:spChg>
      </pc:sldChg>
      <pc:sldChg chg="del">
        <pc:chgData name="Gysemans, Stijn" userId="47302815-14f0-4944-a346-9c5ba16265db" providerId="ADAL" clId="{3A59F78E-0E90-4D33-86BF-9F4CCB76A359}" dt="2021-02-05T10:35:29.015" v="516" actId="47"/>
        <pc:sldMkLst>
          <pc:docMk/>
          <pc:sldMk cId="608856534" sldId="2623"/>
        </pc:sldMkLst>
      </pc:sldChg>
      <pc:sldChg chg="del">
        <pc:chgData name="Gysemans, Stijn" userId="47302815-14f0-4944-a346-9c5ba16265db" providerId="ADAL" clId="{3A59F78E-0E90-4D33-86BF-9F4CCB76A359}" dt="2021-02-05T11:32:26.896" v="1985" actId="47"/>
        <pc:sldMkLst>
          <pc:docMk/>
          <pc:sldMk cId="2715053365" sldId="2624"/>
        </pc:sldMkLst>
      </pc:sldChg>
      <pc:sldChg chg="del">
        <pc:chgData name="Gysemans, Stijn" userId="47302815-14f0-4944-a346-9c5ba16265db" providerId="ADAL" clId="{3A59F78E-0E90-4D33-86BF-9F4CCB76A359}" dt="2021-02-05T11:32:26.896" v="1985" actId="47"/>
        <pc:sldMkLst>
          <pc:docMk/>
          <pc:sldMk cId="3012520090" sldId="2632"/>
        </pc:sldMkLst>
      </pc:sldChg>
      <pc:sldChg chg="modSp mod">
        <pc:chgData name="Gysemans, Stijn" userId="47302815-14f0-4944-a346-9c5ba16265db" providerId="ADAL" clId="{3A59F78E-0E90-4D33-86BF-9F4CCB76A359}" dt="2021-02-05T10:43:53.899" v="720" actId="20577"/>
        <pc:sldMkLst>
          <pc:docMk/>
          <pc:sldMk cId="103687037" sldId="2636"/>
        </pc:sldMkLst>
        <pc:spChg chg="mod">
          <ac:chgData name="Gysemans, Stijn" userId="47302815-14f0-4944-a346-9c5ba16265db" providerId="ADAL" clId="{3A59F78E-0E90-4D33-86BF-9F4CCB76A359}" dt="2021-02-05T10:43:53.899" v="720" actId="20577"/>
          <ac:spMkLst>
            <pc:docMk/>
            <pc:sldMk cId="103687037" sldId="2636"/>
            <ac:spMk id="6" creationId="{88DF7457-F83E-432A-B401-25CD138FE3A4}"/>
          </ac:spMkLst>
        </pc:spChg>
      </pc:sldChg>
      <pc:sldChg chg="del">
        <pc:chgData name="Gysemans, Stijn" userId="47302815-14f0-4944-a346-9c5ba16265db" providerId="ADAL" clId="{3A59F78E-0E90-4D33-86BF-9F4CCB76A359}" dt="2021-02-05T11:32:26.896" v="1985" actId="47"/>
        <pc:sldMkLst>
          <pc:docMk/>
          <pc:sldMk cId="1360852627" sldId="2638"/>
        </pc:sldMkLst>
      </pc:sldChg>
      <pc:sldChg chg="del">
        <pc:chgData name="Gysemans, Stijn" userId="47302815-14f0-4944-a346-9c5ba16265db" providerId="ADAL" clId="{3A59F78E-0E90-4D33-86BF-9F4CCB76A359}" dt="2021-02-05T11:32:26.896" v="1985" actId="47"/>
        <pc:sldMkLst>
          <pc:docMk/>
          <pc:sldMk cId="2893695746" sldId="2642"/>
        </pc:sldMkLst>
      </pc:sldChg>
      <pc:sldChg chg="addSp delSp modSp add del mod">
        <pc:chgData name="Gysemans, Stijn" userId="47302815-14f0-4944-a346-9c5ba16265db" providerId="ADAL" clId="{3A59F78E-0E90-4D33-86BF-9F4CCB76A359}" dt="2021-02-05T10:48:08.710" v="826" actId="20577"/>
        <pc:sldMkLst>
          <pc:docMk/>
          <pc:sldMk cId="1512809161" sldId="2146846084"/>
        </pc:sldMkLst>
        <pc:spChg chg="add mod">
          <ac:chgData name="Gysemans, Stijn" userId="47302815-14f0-4944-a346-9c5ba16265db" providerId="ADAL" clId="{3A59F78E-0E90-4D33-86BF-9F4CCB76A359}" dt="2021-02-05T10:48:08.710" v="826" actId="20577"/>
          <ac:spMkLst>
            <pc:docMk/>
            <pc:sldMk cId="1512809161" sldId="2146846084"/>
            <ac:spMk id="2" creationId="{ACAFF524-5B24-4A04-AE96-767EE79D7E53}"/>
          </ac:spMkLst>
        </pc:spChg>
        <pc:spChg chg="mod">
          <ac:chgData name="Gysemans, Stijn" userId="47302815-14f0-4944-a346-9c5ba16265db" providerId="ADAL" clId="{3A59F78E-0E90-4D33-86BF-9F4CCB76A359}" dt="2021-02-05T10:38:39.830" v="575" actId="113"/>
          <ac:spMkLst>
            <pc:docMk/>
            <pc:sldMk cId="1512809161" sldId="2146846084"/>
            <ac:spMk id="4" creationId="{D5C9DF6C-78C6-43F0-9B7F-87B36C1B517E}"/>
          </ac:spMkLst>
        </pc:spChg>
        <pc:spChg chg="mod">
          <ac:chgData name="Gysemans, Stijn" userId="47302815-14f0-4944-a346-9c5ba16265db" providerId="ADAL" clId="{3A59F78E-0E90-4D33-86BF-9F4CCB76A359}" dt="2021-02-05T10:47:45.366" v="806" actId="1076"/>
          <ac:spMkLst>
            <pc:docMk/>
            <pc:sldMk cId="1512809161" sldId="2146846084"/>
            <ac:spMk id="45" creationId="{B4C290F7-F6F6-48DD-8BC2-8BC9189BF55C}"/>
          </ac:spMkLst>
        </pc:spChg>
        <pc:picChg chg="add del mod">
          <ac:chgData name="Gysemans, Stijn" userId="47302815-14f0-4944-a346-9c5ba16265db" providerId="ADAL" clId="{3A59F78E-0E90-4D33-86BF-9F4CCB76A359}" dt="2021-02-05T10:47:14.761" v="778" actId="478"/>
          <ac:picMkLst>
            <pc:docMk/>
            <pc:sldMk cId="1512809161" sldId="2146846084"/>
            <ac:picMk id="52" creationId="{78A8F30A-D6BB-4DB4-AAC5-74DDF8A601A8}"/>
          </ac:picMkLst>
        </pc:picChg>
      </pc:sldChg>
      <pc:sldChg chg="addSp modSp add del mod">
        <pc:chgData name="Gysemans, Stijn" userId="47302815-14f0-4944-a346-9c5ba16265db" providerId="ADAL" clId="{3A59F78E-0E90-4D33-86BF-9F4CCB76A359}" dt="2021-02-05T10:48:14.714" v="827"/>
        <pc:sldMkLst>
          <pc:docMk/>
          <pc:sldMk cId="1840800568" sldId="2146846085"/>
        </pc:sldMkLst>
        <pc:spChg chg="mod">
          <ac:chgData name="Gysemans, Stijn" userId="47302815-14f0-4944-a346-9c5ba16265db" providerId="ADAL" clId="{3A59F78E-0E90-4D33-86BF-9F4CCB76A359}" dt="2021-02-05T10:38:50.978" v="579" actId="20577"/>
          <ac:spMkLst>
            <pc:docMk/>
            <pc:sldMk cId="1840800568" sldId="2146846085"/>
            <ac:spMk id="4" creationId="{D5C9DF6C-78C6-43F0-9B7F-87B36C1B517E}"/>
          </ac:spMkLst>
        </pc:spChg>
        <pc:spChg chg="add mod">
          <ac:chgData name="Gysemans, Stijn" userId="47302815-14f0-4944-a346-9c5ba16265db" providerId="ADAL" clId="{3A59F78E-0E90-4D33-86BF-9F4CCB76A359}" dt="2021-02-05T10:48:14.714" v="827"/>
          <ac:spMkLst>
            <pc:docMk/>
            <pc:sldMk cId="1840800568" sldId="2146846085"/>
            <ac:spMk id="16" creationId="{7E5C8921-01AC-49FF-BC8E-CCEB1398439E}"/>
          </ac:spMkLst>
        </pc:spChg>
      </pc:sldChg>
      <pc:sldChg chg="del">
        <pc:chgData name="Gysemans, Stijn" userId="47302815-14f0-4944-a346-9c5ba16265db" providerId="ADAL" clId="{3A59F78E-0E90-4D33-86BF-9F4CCB76A359}" dt="2021-02-05T11:32:26.896" v="1985" actId="47"/>
        <pc:sldMkLst>
          <pc:docMk/>
          <pc:sldMk cId="3065389755" sldId="2146846088"/>
        </pc:sldMkLst>
      </pc:sldChg>
      <pc:sldChg chg="add del">
        <pc:chgData name="Gysemans, Stijn" userId="47302815-14f0-4944-a346-9c5ba16265db" providerId="ADAL" clId="{3A59F78E-0E90-4D33-86BF-9F4CCB76A359}" dt="2021-02-05T10:38:30.086" v="546"/>
        <pc:sldMkLst>
          <pc:docMk/>
          <pc:sldMk cId="1230723606" sldId="2146846093"/>
        </pc:sldMkLst>
      </pc:sldChg>
      <pc:sldChg chg="del">
        <pc:chgData name="Gysemans, Stijn" userId="47302815-14f0-4944-a346-9c5ba16265db" providerId="ADAL" clId="{3A59F78E-0E90-4D33-86BF-9F4CCB76A359}" dt="2021-02-05T11:32:26.896" v="1985" actId="47"/>
        <pc:sldMkLst>
          <pc:docMk/>
          <pc:sldMk cId="1554049755" sldId="2146846094"/>
        </pc:sldMkLst>
      </pc:sldChg>
      <pc:sldChg chg="del">
        <pc:chgData name="Gysemans, Stijn" userId="47302815-14f0-4944-a346-9c5ba16265db" providerId="ADAL" clId="{3A59F78E-0E90-4D33-86BF-9F4CCB76A359}" dt="2021-02-05T11:32:26.896" v="1985" actId="47"/>
        <pc:sldMkLst>
          <pc:docMk/>
          <pc:sldMk cId="2868039377" sldId="2146846095"/>
        </pc:sldMkLst>
      </pc:sldChg>
      <pc:sldChg chg="modSp mod">
        <pc:chgData name="Gysemans, Stijn" userId="47302815-14f0-4944-a346-9c5ba16265db" providerId="ADAL" clId="{3A59F78E-0E90-4D33-86BF-9F4CCB76A359}" dt="2021-02-05T11:32:36.549" v="1997" actId="20577"/>
        <pc:sldMkLst>
          <pc:docMk/>
          <pc:sldMk cId="2824235381" sldId="2146846096"/>
        </pc:sldMkLst>
        <pc:spChg chg="mod">
          <ac:chgData name="Gysemans, Stijn" userId="47302815-14f0-4944-a346-9c5ba16265db" providerId="ADAL" clId="{3A59F78E-0E90-4D33-86BF-9F4CCB76A359}" dt="2021-02-05T11:32:36.549" v="1997" actId="20577"/>
          <ac:spMkLst>
            <pc:docMk/>
            <pc:sldMk cId="2824235381" sldId="2146846096"/>
            <ac:spMk id="12" creationId="{0047E1DE-9DFF-4FA7-AECA-7D0EF022D721}"/>
          </ac:spMkLst>
        </pc:spChg>
      </pc:sldChg>
      <pc:sldChg chg="modSp new mod">
        <pc:chgData name="Gysemans, Stijn" userId="47302815-14f0-4944-a346-9c5ba16265db" providerId="ADAL" clId="{3A59F78E-0E90-4D33-86BF-9F4CCB76A359}" dt="2021-02-05T13:06:08.568" v="4996" actId="20577"/>
        <pc:sldMkLst>
          <pc:docMk/>
          <pc:sldMk cId="65753406" sldId="2146846097"/>
        </pc:sldMkLst>
        <pc:spChg chg="mod">
          <ac:chgData name="Gysemans, Stijn" userId="47302815-14f0-4944-a346-9c5ba16265db" providerId="ADAL" clId="{3A59F78E-0E90-4D33-86BF-9F4CCB76A359}" dt="2021-02-05T10:29:17.051" v="16" actId="20577"/>
          <ac:spMkLst>
            <pc:docMk/>
            <pc:sldMk cId="65753406" sldId="2146846097"/>
            <ac:spMk id="2" creationId="{7869F7D3-1B9F-41C2-9A1E-C86D9E54C100}"/>
          </ac:spMkLst>
        </pc:spChg>
        <pc:spChg chg="mod">
          <ac:chgData name="Gysemans, Stijn" userId="47302815-14f0-4944-a346-9c5ba16265db" providerId="ADAL" clId="{3A59F78E-0E90-4D33-86BF-9F4CCB76A359}" dt="2021-02-05T13:06:08.568" v="4996" actId="20577"/>
          <ac:spMkLst>
            <pc:docMk/>
            <pc:sldMk cId="65753406" sldId="2146846097"/>
            <ac:spMk id="3" creationId="{5D91034D-6775-4B06-84BB-0A9B536EFE63}"/>
          </ac:spMkLst>
        </pc:spChg>
      </pc:sldChg>
      <pc:sldChg chg="addSp delSp modSp add del mod modClrScheme chgLayout">
        <pc:chgData name="Gysemans, Stijn" userId="47302815-14f0-4944-a346-9c5ba16265db" providerId="ADAL" clId="{3A59F78E-0E90-4D33-86BF-9F4CCB76A359}" dt="2021-02-05T11:32:26.896" v="1985" actId="47"/>
        <pc:sldMkLst>
          <pc:docMk/>
          <pc:sldMk cId="762479502" sldId="2146846098"/>
        </pc:sldMkLst>
        <pc:spChg chg="add del mod ord">
          <ac:chgData name="Gysemans, Stijn" userId="47302815-14f0-4944-a346-9c5ba16265db" providerId="ADAL" clId="{3A59F78E-0E90-4D33-86BF-9F4CCB76A359}" dt="2021-02-05T10:37:33.679" v="543" actId="478"/>
          <ac:spMkLst>
            <pc:docMk/>
            <pc:sldMk cId="762479502" sldId="2146846098"/>
            <ac:spMk id="2" creationId="{7337902E-7A4B-4423-9B41-E93259E2ED4A}"/>
          </ac:spMkLst>
        </pc:spChg>
        <pc:spChg chg="add mod ord">
          <ac:chgData name="Gysemans, Stijn" userId="47302815-14f0-4944-a346-9c5ba16265db" providerId="ADAL" clId="{3A59F78E-0E90-4D33-86BF-9F4CCB76A359}" dt="2021-02-05T10:37:29.412" v="542" actId="700"/>
          <ac:spMkLst>
            <pc:docMk/>
            <pc:sldMk cId="762479502" sldId="2146846098"/>
            <ac:spMk id="3" creationId="{AD93AF4A-D81C-40CD-A023-E11EC623D7AF}"/>
          </ac:spMkLst>
        </pc:spChg>
        <pc:spChg chg="del">
          <ac:chgData name="Gysemans, Stijn" userId="47302815-14f0-4944-a346-9c5ba16265db" providerId="ADAL" clId="{3A59F78E-0E90-4D33-86BF-9F4CCB76A359}" dt="2021-02-05T10:35:54.814" v="541" actId="478"/>
          <ac:spMkLst>
            <pc:docMk/>
            <pc:sldMk cId="762479502" sldId="2146846098"/>
            <ac:spMk id="4" creationId="{843E7317-13E7-41FD-9EBB-B51D7BF9BA31}"/>
          </ac:spMkLst>
        </pc:spChg>
        <pc:spChg chg="mod">
          <ac:chgData name="Gysemans, Stijn" userId="47302815-14f0-4944-a346-9c5ba16265db" providerId="ADAL" clId="{3A59F78E-0E90-4D33-86BF-9F4CCB76A359}" dt="2021-02-05T10:35:44.078" v="538" actId="20577"/>
          <ac:spMkLst>
            <pc:docMk/>
            <pc:sldMk cId="762479502" sldId="2146846098"/>
            <ac:spMk id="6" creationId="{88DF7457-F83E-432A-B401-25CD138FE3A4}"/>
          </ac:spMkLst>
        </pc:spChg>
        <pc:spChg chg="del">
          <ac:chgData name="Gysemans, Stijn" userId="47302815-14f0-4944-a346-9c5ba16265db" providerId="ADAL" clId="{3A59F78E-0E90-4D33-86BF-9F4CCB76A359}" dt="2021-02-05T10:35:47.479" v="539" actId="478"/>
          <ac:spMkLst>
            <pc:docMk/>
            <pc:sldMk cId="762479502" sldId="2146846098"/>
            <ac:spMk id="7" creationId="{4421AF7F-4003-4ECD-977A-B7EB022884DA}"/>
          </ac:spMkLst>
        </pc:spChg>
        <pc:picChg chg="del">
          <ac:chgData name="Gysemans, Stijn" userId="47302815-14f0-4944-a346-9c5ba16265db" providerId="ADAL" clId="{3A59F78E-0E90-4D33-86BF-9F4CCB76A359}" dt="2021-02-05T10:35:51.711" v="540" actId="478"/>
          <ac:picMkLst>
            <pc:docMk/>
            <pc:sldMk cId="762479502" sldId="2146846098"/>
            <ac:picMk id="15" creationId="{3EE9B7BB-E6CB-4C15-954F-41F68F7F4697}"/>
          </ac:picMkLst>
        </pc:picChg>
        <pc:picChg chg="del">
          <ac:chgData name="Gysemans, Stijn" userId="47302815-14f0-4944-a346-9c5ba16265db" providerId="ADAL" clId="{3A59F78E-0E90-4D33-86BF-9F4CCB76A359}" dt="2021-02-05T10:35:51.711" v="540" actId="478"/>
          <ac:picMkLst>
            <pc:docMk/>
            <pc:sldMk cId="762479502" sldId="2146846098"/>
            <ac:picMk id="16" creationId="{D5962473-C878-4BB8-8E7B-E33620A9BF1E}"/>
          </ac:picMkLst>
        </pc:picChg>
        <pc:picChg chg="del">
          <ac:chgData name="Gysemans, Stijn" userId="47302815-14f0-4944-a346-9c5ba16265db" providerId="ADAL" clId="{3A59F78E-0E90-4D33-86BF-9F4CCB76A359}" dt="2021-02-05T10:35:51.711" v="540" actId="478"/>
          <ac:picMkLst>
            <pc:docMk/>
            <pc:sldMk cId="762479502" sldId="2146846098"/>
            <ac:picMk id="1026" creationId="{0B3C7A75-C332-4157-A7CF-97D4B1E87496}"/>
          </ac:picMkLst>
        </pc:picChg>
      </pc:sldChg>
      <pc:sldChg chg="addSp modSp add mod">
        <pc:chgData name="Gysemans, Stijn" userId="47302815-14f0-4944-a346-9c5ba16265db" providerId="ADAL" clId="{3A59F78E-0E90-4D33-86BF-9F4CCB76A359}" dt="2021-02-05T11:34:14.831" v="1999" actId="1076"/>
        <pc:sldMkLst>
          <pc:docMk/>
          <pc:sldMk cId="3120614401" sldId="2146846099"/>
        </pc:sldMkLst>
        <pc:spChg chg="add mod">
          <ac:chgData name="Gysemans, Stijn" userId="47302815-14f0-4944-a346-9c5ba16265db" providerId="ADAL" clId="{3A59F78E-0E90-4D33-86BF-9F4CCB76A359}" dt="2021-02-05T11:34:09.402" v="1998" actId="14100"/>
          <ac:spMkLst>
            <pc:docMk/>
            <pc:sldMk cId="3120614401" sldId="2146846099"/>
            <ac:spMk id="3" creationId="{F0581222-85E5-45F8-A7E3-34B485EBBBD7}"/>
          </ac:spMkLst>
        </pc:spChg>
        <pc:spChg chg="mod">
          <ac:chgData name="Gysemans, Stijn" userId="47302815-14f0-4944-a346-9c5ba16265db" providerId="ADAL" clId="{3A59F78E-0E90-4D33-86BF-9F4CCB76A359}" dt="2021-02-05T10:39:36.424" v="592"/>
          <ac:spMkLst>
            <pc:docMk/>
            <pc:sldMk cId="3120614401" sldId="2146846099"/>
            <ac:spMk id="4" creationId="{D5C9DF6C-78C6-43F0-9B7F-87B36C1B517E}"/>
          </ac:spMkLst>
        </pc:spChg>
        <pc:spChg chg="add mod">
          <ac:chgData name="Gysemans, Stijn" userId="47302815-14f0-4944-a346-9c5ba16265db" providerId="ADAL" clId="{3A59F78E-0E90-4D33-86BF-9F4CCB76A359}" dt="2021-02-05T11:34:14.831" v="1999" actId="1076"/>
          <ac:spMkLst>
            <pc:docMk/>
            <pc:sldMk cId="3120614401" sldId="2146846099"/>
            <ac:spMk id="5" creationId="{0D9376D8-37F2-4A5B-84AB-3E11948A2556}"/>
          </ac:spMkLst>
        </pc:spChg>
        <pc:spChg chg="mod">
          <ac:chgData name="Gysemans, Stijn" userId="47302815-14f0-4944-a346-9c5ba16265db" providerId="ADAL" clId="{3A59F78E-0E90-4D33-86BF-9F4CCB76A359}" dt="2021-02-05T10:39:41.573" v="593" actId="1076"/>
          <ac:spMkLst>
            <pc:docMk/>
            <pc:sldMk cId="3120614401" sldId="2146846099"/>
            <ac:spMk id="15" creationId="{0CFB0E47-F202-4978-AE74-A0E25A71C9D4}"/>
          </ac:spMkLst>
        </pc:spChg>
        <pc:spChg chg="add mod">
          <ac:chgData name="Gysemans, Stijn" userId="47302815-14f0-4944-a346-9c5ba16265db" providerId="ADAL" clId="{3A59F78E-0E90-4D33-86BF-9F4CCB76A359}" dt="2021-02-05T10:48:16.364" v="828"/>
          <ac:spMkLst>
            <pc:docMk/>
            <pc:sldMk cId="3120614401" sldId="2146846099"/>
            <ac:spMk id="56" creationId="{E68A1F17-5FD9-43DE-B7BD-7503993BF6B7}"/>
          </ac:spMkLst>
        </pc:spChg>
      </pc:sldChg>
      <pc:sldChg chg="addSp delSp modSp add mod">
        <pc:chgData name="Gysemans, Stijn" userId="47302815-14f0-4944-a346-9c5ba16265db" providerId="ADAL" clId="{3A59F78E-0E90-4D33-86BF-9F4CCB76A359}" dt="2021-02-05T12:07:58.360" v="3779" actId="20577"/>
        <pc:sldMkLst>
          <pc:docMk/>
          <pc:sldMk cId="3944767883" sldId="2146846100"/>
        </pc:sldMkLst>
        <pc:spChg chg="del">
          <ac:chgData name="Gysemans, Stijn" userId="47302815-14f0-4944-a346-9c5ba16265db" providerId="ADAL" clId="{3A59F78E-0E90-4D33-86BF-9F4CCB76A359}" dt="2021-02-05T10:41:48.521" v="660" actId="478"/>
          <ac:spMkLst>
            <pc:docMk/>
            <pc:sldMk cId="3944767883" sldId="2146846100"/>
            <ac:spMk id="2" creationId="{A713BC2D-C443-4636-AE4D-3D104E7CCD8C}"/>
          </ac:spMkLst>
        </pc:spChg>
        <pc:spChg chg="del">
          <ac:chgData name="Gysemans, Stijn" userId="47302815-14f0-4944-a346-9c5ba16265db" providerId="ADAL" clId="{3A59F78E-0E90-4D33-86BF-9F4CCB76A359}" dt="2021-02-05T10:41:48.521" v="660" actId="478"/>
          <ac:spMkLst>
            <pc:docMk/>
            <pc:sldMk cId="3944767883" sldId="2146846100"/>
            <ac:spMk id="3" creationId="{F0581222-85E5-45F8-A7E3-34B485EBBBD7}"/>
          </ac:spMkLst>
        </pc:spChg>
        <pc:spChg chg="mod">
          <ac:chgData name="Gysemans, Stijn" userId="47302815-14f0-4944-a346-9c5ba16265db" providerId="ADAL" clId="{3A59F78E-0E90-4D33-86BF-9F4CCB76A359}" dt="2021-02-05T11:34:28.857" v="2026" actId="20577"/>
          <ac:spMkLst>
            <pc:docMk/>
            <pc:sldMk cId="3944767883" sldId="2146846100"/>
            <ac:spMk id="4" creationId="{D5C9DF6C-78C6-43F0-9B7F-87B36C1B517E}"/>
          </ac:spMkLst>
        </pc:spChg>
        <pc:spChg chg="del">
          <ac:chgData name="Gysemans, Stijn" userId="47302815-14f0-4944-a346-9c5ba16265db" providerId="ADAL" clId="{3A59F78E-0E90-4D33-86BF-9F4CCB76A359}" dt="2021-02-05T10:41:48.521" v="660" actId="478"/>
          <ac:spMkLst>
            <pc:docMk/>
            <pc:sldMk cId="3944767883" sldId="2146846100"/>
            <ac:spMk id="5" creationId="{0D9376D8-37F2-4A5B-84AB-3E11948A2556}"/>
          </ac:spMkLst>
        </pc:spChg>
        <pc:spChg chg="del">
          <ac:chgData name="Gysemans, Stijn" userId="47302815-14f0-4944-a346-9c5ba16265db" providerId="ADAL" clId="{3A59F78E-0E90-4D33-86BF-9F4CCB76A359}" dt="2021-02-05T10:41:48.521" v="660" actId="478"/>
          <ac:spMkLst>
            <pc:docMk/>
            <pc:sldMk cId="3944767883" sldId="2146846100"/>
            <ac:spMk id="12" creationId="{C201CB60-1459-499C-9166-00AF77E7CFB9}"/>
          </ac:spMkLst>
        </pc:spChg>
        <pc:spChg chg="del">
          <ac:chgData name="Gysemans, Stijn" userId="47302815-14f0-4944-a346-9c5ba16265db" providerId="ADAL" clId="{3A59F78E-0E90-4D33-86BF-9F4CCB76A359}" dt="2021-02-05T10:41:48.521" v="660" actId="478"/>
          <ac:spMkLst>
            <pc:docMk/>
            <pc:sldMk cId="3944767883" sldId="2146846100"/>
            <ac:spMk id="13" creationId="{72E02C1D-4B09-49BC-BAD1-C8EA6A6259E9}"/>
          </ac:spMkLst>
        </pc:spChg>
        <pc:spChg chg="del">
          <ac:chgData name="Gysemans, Stijn" userId="47302815-14f0-4944-a346-9c5ba16265db" providerId="ADAL" clId="{3A59F78E-0E90-4D33-86BF-9F4CCB76A359}" dt="2021-02-05T10:41:26.642" v="659" actId="478"/>
          <ac:spMkLst>
            <pc:docMk/>
            <pc:sldMk cId="3944767883" sldId="2146846100"/>
            <ac:spMk id="15" creationId="{0CFB0E47-F202-4978-AE74-A0E25A71C9D4}"/>
          </ac:spMkLst>
        </pc:spChg>
        <pc:spChg chg="del">
          <ac:chgData name="Gysemans, Stijn" userId="47302815-14f0-4944-a346-9c5ba16265db" providerId="ADAL" clId="{3A59F78E-0E90-4D33-86BF-9F4CCB76A359}" dt="2021-02-05T10:41:48.521" v="660" actId="478"/>
          <ac:spMkLst>
            <pc:docMk/>
            <pc:sldMk cId="3944767883" sldId="2146846100"/>
            <ac:spMk id="52" creationId="{E61E35C2-AE5F-4F45-A021-7F227D55FCD1}"/>
          </ac:spMkLst>
        </pc:spChg>
        <pc:spChg chg="del">
          <ac:chgData name="Gysemans, Stijn" userId="47302815-14f0-4944-a346-9c5ba16265db" providerId="ADAL" clId="{3A59F78E-0E90-4D33-86BF-9F4CCB76A359}" dt="2021-02-05T10:41:48.521" v="660" actId="478"/>
          <ac:spMkLst>
            <pc:docMk/>
            <pc:sldMk cId="3944767883" sldId="2146846100"/>
            <ac:spMk id="53" creationId="{8C484E6D-0647-49F4-B18E-FE62CF62D286}"/>
          </ac:spMkLst>
        </pc:spChg>
        <pc:spChg chg="del">
          <ac:chgData name="Gysemans, Stijn" userId="47302815-14f0-4944-a346-9c5ba16265db" providerId="ADAL" clId="{3A59F78E-0E90-4D33-86BF-9F4CCB76A359}" dt="2021-02-05T10:41:48.521" v="660" actId="478"/>
          <ac:spMkLst>
            <pc:docMk/>
            <pc:sldMk cId="3944767883" sldId="2146846100"/>
            <ac:spMk id="54" creationId="{E905BBBD-CAEE-4582-B785-D8D558CC1B3D}"/>
          </ac:spMkLst>
        </pc:spChg>
        <pc:spChg chg="del">
          <ac:chgData name="Gysemans, Stijn" userId="47302815-14f0-4944-a346-9c5ba16265db" providerId="ADAL" clId="{3A59F78E-0E90-4D33-86BF-9F4CCB76A359}" dt="2021-02-05T10:41:51.625" v="662" actId="478"/>
          <ac:spMkLst>
            <pc:docMk/>
            <pc:sldMk cId="3944767883" sldId="2146846100"/>
            <ac:spMk id="55" creationId="{1115443E-A86D-4270-9FCA-16E38CDBCAF1}"/>
          </ac:spMkLst>
        </pc:spChg>
        <pc:spChg chg="add mod">
          <ac:chgData name="Gysemans, Stijn" userId="47302815-14f0-4944-a346-9c5ba16265db" providerId="ADAL" clId="{3A59F78E-0E90-4D33-86BF-9F4CCB76A359}" dt="2021-02-05T10:42:58.958" v="698" actId="113"/>
          <ac:spMkLst>
            <pc:docMk/>
            <pc:sldMk cId="3944767883" sldId="2146846100"/>
            <ac:spMk id="56" creationId="{A23F441A-328B-466B-81B6-AEFC6080DC11}"/>
          </ac:spMkLst>
        </pc:spChg>
        <pc:spChg chg="del">
          <ac:chgData name="Gysemans, Stijn" userId="47302815-14f0-4944-a346-9c5ba16265db" providerId="ADAL" clId="{3A59F78E-0E90-4D33-86BF-9F4CCB76A359}" dt="2021-02-05T10:41:48.521" v="660" actId="478"/>
          <ac:spMkLst>
            <pc:docMk/>
            <pc:sldMk cId="3944767883" sldId="2146846100"/>
            <ac:spMk id="57" creationId="{CF2230B5-327F-4A6F-BF91-33985C71F36E}"/>
          </ac:spMkLst>
        </pc:spChg>
        <pc:spChg chg="del">
          <ac:chgData name="Gysemans, Stijn" userId="47302815-14f0-4944-a346-9c5ba16265db" providerId="ADAL" clId="{3A59F78E-0E90-4D33-86BF-9F4CCB76A359}" dt="2021-02-05T10:41:48.521" v="660" actId="478"/>
          <ac:spMkLst>
            <pc:docMk/>
            <pc:sldMk cId="3944767883" sldId="2146846100"/>
            <ac:spMk id="58" creationId="{6F458C5D-CAB9-4DC8-B653-DCA920123280}"/>
          </ac:spMkLst>
        </pc:spChg>
        <pc:spChg chg="add mod">
          <ac:chgData name="Gysemans, Stijn" userId="47302815-14f0-4944-a346-9c5ba16265db" providerId="ADAL" clId="{3A59F78E-0E90-4D33-86BF-9F4CCB76A359}" dt="2021-02-05T10:43:12.989" v="713" actId="20577"/>
          <ac:spMkLst>
            <pc:docMk/>
            <pc:sldMk cId="3944767883" sldId="2146846100"/>
            <ac:spMk id="59" creationId="{1E7E3C76-D25C-4B35-9349-329C059F38A2}"/>
          </ac:spMkLst>
        </pc:spChg>
        <pc:spChg chg="add mod">
          <ac:chgData name="Gysemans, Stijn" userId="47302815-14f0-4944-a346-9c5ba16265db" providerId="ADAL" clId="{3A59F78E-0E90-4D33-86BF-9F4CCB76A359}" dt="2021-02-05T10:43:32.380" v="715" actId="113"/>
          <ac:spMkLst>
            <pc:docMk/>
            <pc:sldMk cId="3944767883" sldId="2146846100"/>
            <ac:spMk id="60" creationId="{D0339AC3-7EDC-4BD4-88DC-B3A6FF519A65}"/>
          </ac:spMkLst>
        </pc:spChg>
        <pc:spChg chg="add mod">
          <ac:chgData name="Gysemans, Stijn" userId="47302815-14f0-4944-a346-9c5ba16265db" providerId="ADAL" clId="{3A59F78E-0E90-4D33-86BF-9F4CCB76A359}" dt="2021-02-05T10:43:22.543" v="714" actId="113"/>
          <ac:spMkLst>
            <pc:docMk/>
            <pc:sldMk cId="3944767883" sldId="2146846100"/>
            <ac:spMk id="61" creationId="{3A148C95-431B-41BC-921E-A0086B8163F0}"/>
          </ac:spMkLst>
        </pc:spChg>
        <pc:spChg chg="add mod">
          <ac:chgData name="Gysemans, Stijn" userId="47302815-14f0-4944-a346-9c5ba16265db" providerId="ADAL" clId="{3A59F78E-0E90-4D33-86BF-9F4CCB76A359}" dt="2021-02-05T12:07:58.360" v="3779" actId="20577"/>
          <ac:spMkLst>
            <pc:docMk/>
            <pc:sldMk cId="3944767883" sldId="2146846100"/>
            <ac:spMk id="62" creationId="{03DE4AFF-3A5E-4C89-BC5D-FF71918526DF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64" creationId="{BB04BE68-6610-4C6D-838B-3D33A6131D9F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65" creationId="{530B07F3-A8D8-4FDD-BFC9-E5E0F2F62EA8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66" creationId="{64ECA550-0837-4384-8EB1-11E888BB75F9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68" creationId="{BFC3E026-6C0E-4B66-82A8-E637A5198DA1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69" creationId="{99033911-05DD-4997-B6F6-EC8012428959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70" creationId="{38887E3C-70C2-485D-B26C-B2E7658D1A7D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71" creationId="{64EADD73-9F11-4C55-B5F3-ACB158DD6ACB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72" creationId="{B628F2C1-66A2-4A6A-AA08-C500D9667CB9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74" creationId="{36D9CA5F-09A5-4539-82B0-CB363B9C180C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75" creationId="{6DBE64A5-2DCA-4C91-89EC-5BF4E9269A11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76" creationId="{C6EDE147-FDBD-4D98-9B1B-DAB796DB5FBA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77" creationId="{92A9F2FF-5534-41B8-8500-291D74750C44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78" creationId="{C1284ECA-1A40-449E-B2A8-FB0204C4DCDA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80" creationId="{09A7D242-E89E-40E7-B9D8-CCE7DAD57439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81" creationId="{20FE92C7-B780-4977-941D-47F3D6D6D283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82" creationId="{82D16D95-1D17-46BB-8A43-8BEA1612ADA1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83" creationId="{24391B7E-0B2F-4EFE-9ACA-CDB14B9BF56E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84" creationId="{80E789DF-E64A-4206-8116-F03F5E7ECFEC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86" creationId="{8DF54DDD-7ED3-4AC2-B3A8-CAD4707F6DD9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87" creationId="{2372E2BE-6F8A-479E-9DEB-56E9F1420027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88" creationId="{6FF83ABA-4873-422D-B89B-4A4A5C8D8978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89" creationId="{17CCF0D8-E4B7-4DE7-819D-8FDC2315001D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91" creationId="{BA53080C-8517-4ED0-9C13-F30C9FDF6241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92" creationId="{8254F130-6359-4132-8BCF-1F9D9008ADC2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94" creationId="{027E9876-66BB-45A7-B515-4D30C4F60DC8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95" creationId="{FD3650D7-F973-4AC4-833E-076869C718E4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97" creationId="{E76E8986-D18E-47A1-8821-2A6F397DD122}"/>
          </ac:spMkLst>
        </pc:spChg>
        <pc:spChg chg="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98" creationId="{89A02CD4-6DA1-4940-BC42-49A52E6C794D}"/>
          </ac:spMkLst>
        </pc:spChg>
        <pc:spChg chg="add 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99" creationId="{D2F91F92-16D8-49CA-B96A-AA188052A34D}"/>
          </ac:spMkLst>
        </pc:spChg>
        <pc:spChg chg="add mod">
          <ac:chgData name="Gysemans, Stijn" userId="47302815-14f0-4944-a346-9c5ba16265db" providerId="ADAL" clId="{3A59F78E-0E90-4D33-86BF-9F4CCB76A359}" dt="2021-02-05T10:42:52.173" v="697" actId="1076"/>
          <ac:spMkLst>
            <pc:docMk/>
            <pc:sldMk cId="3944767883" sldId="2146846100"/>
            <ac:spMk id="100" creationId="{45CA60B0-E6FF-4BFE-AEF8-F463371B07CD}"/>
          </ac:spMkLst>
        </pc:spChg>
        <pc:spChg chg="add mod">
          <ac:chgData name="Gysemans, Stijn" userId="47302815-14f0-4944-a346-9c5ba16265db" providerId="ADAL" clId="{3A59F78E-0E90-4D33-86BF-9F4CCB76A359}" dt="2021-02-05T10:44:42.944" v="723" actId="1076"/>
          <ac:spMkLst>
            <pc:docMk/>
            <pc:sldMk cId="3944767883" sldId="2146846100"/>
            <ac:spMk id="101" creationId="{518613C7-55E5-4D25-BE43-7404BEB7AD81}"/>
          </ac:spMkLst>
        </pc:spChg>
        <pc:spChg chg="add mod">
          <ac:chgData name="Gysemans, Stijn" userId="47302815-14f0-4944-a346-9c5ba16265db" providerId="ADAL" clId="{3A59F78E-0E90-4D33-86BF-9F4CCB76A359}" dt="2021-02-05T11:19:18.168" v="1351" actId="1076"/>
          <ac:spMkLst>
            <pc:docMk/>
            <pc:sldMk cId="3944767883" sldId="2146846100"/>
            <ac:spMk id="105" creationId="{FC63A1B2-505C-4971-B749-BA128C4AE38F}"/>
          </ac:spMkLst>
        </pc:spChg>
        <pc:spChg chg="add mod">
          <ac:chgData name="Gysemans, Stijn" userId="47302815-14f0-4944-a346-9c5ba16265db" providerId="ADAL" clId="{3A59F78E-0E90-4D33-86BF-9F4CCB76A359}" dt="2021-02-05T10:48:17.767" v="829"/>
          <ac:spMkLst>
            <pc:docMk/>
            <pc:sldMk cId="3944767883" sldId="2146846100"/>
            <ac:spMk id="107" creationId="{A86C1933-3E8E-4086-9594-ACCB50ECA373}"/>
          </ac:spMkLst>
        </pc:spChg>
        <pc:grpChg chg="mod">
          <ac:chgData name="Gysemans, Stijn" userId="47302815-14f0-4944-a346-9c5ba16265db" providerId="ADAL" clId="{3A59F78E-0E90-4D33-86BF-9F4CCB76A359}" dt="2021-02-05T10:45:10.578" v="757"/>
          <ac:grpSpMkLst>
            <pc:docMk/>
            <pc:sldMk cId="3944767883" sldId="2146846100"/>
            <ac:grpSpMk id="8" creationId="{706846C0-AF2F-4039-9B96-2AA37C088D18}"/>
          </ac:grpSpMkLst>
        </pc:grpChg>
        <pc:grpChg chg="mod">
          <ac:chgData name="Gysemans, Stijn" userId="47302815-14f0-4944-a346-9c5ba16265db" providerId="ADAL" clId="{3A59F78E-0E90-4D33-86BF-9F4CCB76A359}" dt="2021-02-05T10:45:27.039" v="763"/>
          <ac:grpSpMkLst>
            <pc:docMk/>
            <pc:sldMk cId="3944767883" sldId="2146846100"/>
            <ac:grpSpMk id="11" creationId="{119DD3D5-64F3-478D-9CD9-3A4F5B507731}"/>
          </ac:grpSpMkLst>
        </pc:grpChg>
        <pc:grpChg chg="del">
          <ac:chgData name="Gysemans, Stijn" userId="47302815-14f0-4944-a346-9c5ba16265db" providerId="ADAL" clId="{3A59F78E-0E90-4D33-86BF-9F4CCB76A359}" dt="2021-02-05T10:41:48.521" v="660" actId="478"/>
          <ac:grpSpMkLst>
            <pc:docMk/>
            <pc:sldMk cId="3944767883" sldId="2146846100"/>
            <ac:grpSpMk id="19" creationId="{864C3725-96DC-4571-885C-8F6E3FE60F60}"/>
          </ac:grpSpMkLst>
        </pc:grpChg>
        <pc:grpChg chg="del">
          <ac:chgData name="Gysemans, Stijn" userId="47302815-14f0-4944-a346-9c5ba16265db" providerId="ADAL" clId="{3A59F78E-0E90-4D33-86BF-9F4CCB76A359}" dt="2021-02-05T10:41:48.521" v="660" actId="478"/>
          <ac:grpSpMkLst>
            <pc:docMk/>
            <pc:sldMk cId="3944767883" sldId="2146846100"/>
            <ac:grpSpMk id="25" creationId="{6B153D32-2E19-4240-B5B0-0AA9E7A9D806}"/>
          </ac:grpSpMkLst>
        </pc:grpChg>
        <pc:grpChg chg="del">
          <ac:chgData name="Gysemans, Stijn" userId="47302815-14f0-4944-a346-9c5ba16265db" providerId="ADAL" clId="{3A59F78E-0E90-4D33-86BF-9F4CCB76A359}" dt="2021-02-05T10:41:48.521" v="660" actId="478"/>
          <ac:grpSpMkLst>
            <pc:docMk/>
            <pc:sldMk cId="3944767883" sldId="2146846100"/>
            <ac:grpSpMk id="35" creationId="{73EDF6EA-8623-429C-8E10-04B3EB6C9449}"/>
          </ac:grpSpMkLst>
        </pc:grpChg>
        <pc:grpChg chg="add mod">
          <ac:chgData name="Gysemans, Stijn" userId="47302815-14f0-4944-a346-9c5ba16265db" providerId="ADAL" clId="{3A59F78E-0E90-4D33-86BF-9F4CCB76A359}" dt="2021-02-05T10:42:52.173" v="697" actId="1076"/>
          <ac:grpSpMkLst>
            <pc:docMk/>
            <pc:sldMk cId="3944767883" sldId="2146846100"/>
            <ac:grpSpMk id="63" creationId="{0A9596A0-1101-46E1-890C-E04B38CC39F8}"/>
          </ac:grpSpMkLst>
        </pc:grpChg>
        <pc:grpChg chg="add mod">
          <ac:chgData name="Gysemans, Stijn" userId="47302815-14f0-4944-a346-9c5ba16265db" providerId="ADAL" clId="{3A59F78E-0E90-4D33-86BF-9F4CCB76A359}" dt="2021-02-05T10:42:52.173" v="697" actId="1076"/>
          <ac:grpSpMkLst>
            <pc:docMk/>
            <pc:sldMk cId="3944767883" sldId="2146846100"/>
            <ac:grpSpMk id="67" creationId="{CF5AB62B-4A27-410D-9348-9B7D745B4E7C}"/>
          </ac:grpSpMkLst>
        </pc:grpChg>
        <pc:grpChg chg="add mod">
          <ac:chgData name="Gysemans, Stijn" userId="47302815-14f0-4944-a346-9c5ba16265db" providerId="ADAL" clId="{3A59F78E-0E90-4D33-86BF-9F4CCB76A359}" dt="2021-02-05T10:42:52.173" v="697" actId="1076"/>
          <ac:grpSpMkLst>
            <pc:docMk/>
            <pc:sldMk cId="3944767883" sldId="2146846100"/>
            <ac:grpSpMk id="73" creationId="{27F7E7D6-1124-4A5F-8A69-B757C0438C27}"/>
          </ac:grpSpMkLst>
        </pc:grpChg>
        <pc:grpChg chg="add mod">
          <ac:chgData name="Gysemans, Stijn" userId="47302815-14f0-4944-a346-9c5ba16265db" providerId="ADAL" clId="{3A59F78E-0E90-4D33-86BF-9F4CCB76A359}" dt="2021-02-05T10:42:52.173" v="697" actId="1076"/>
          <ac:grpSpMkLst>
            <pc:docMk/>
            <pc:sldMk cId="3944767883" sldId="2146846100"/>
            <ac:grpSpMk id="79" creationId="{1D18576C-399A-4950-B5C3-A7A0574A82C2}"/>
          </ac:grpSpMkLst>
        </pc:grpChg>
        <pc:grpChg chg="add mod">
          <ac:chgData name="Gysemans, Stijn" userId="47302815-14f0-4944-a346-9c5ba16265db" providerId="ADAL" clId="{3A59F78E-0E90-4D33-86BF-9F4CCB76A359}" dt="2021-02-05T10:42:52.173" v="697" actId="1076"/>
          <ac:grpSpMkLst>
            <pc:docMk/>
            <pc:sldMk cId="3944767883" sldId="2146846100"/>
            <ac:grpSpMk id="85" creationId="{3EAA7720-5424-4EB4-ADF2-696E136AD3D5}"/>
          </ac:grpSpMkLst>
        </pc:grpChg>
        <pc:grpChg chg="add mod">
          <ac:chgData name="Gysemans, Stijn" userId="47302815-14f0-4944-a346-9c5ba16265db" providerId="ADAL" clId="{3A59F78E-0E90-4D33-86BF-9F4CCB76A359}" dt="2021-02-05T10:42:52.173" v="697" actId="1076"/>
          <ac:grpSpMkLst>
            <pc:docMk/>
            <pc:sldMk cId="3944767883" sldId="2146846100"/>
            <ac:grpSpMk id="90" creationId="{282229C8-F29E-49BA-BFB7-62B6D75379DC}"/>
          </ac:grpSpMkLst>
        </pc:grpChg>
        <pc:grpChg chg="add mod">
          <ac:chgData name="Gysemans, Stijn" userId="47302815-14f0-4944-a346-9c5ba16265db" providerId="ADAL" clId="{3A59F78E-0E90-4D33-86BF-9F4CCB76A359}" dt="2021-02-05T10:42:52.173" v="697" actId="1076"/>
          <ac:grpSpMkLst>
            <pc:docMk/>
            <pc:sldMk cId="3944767883" sldId="2146846100"/>
            <ac:grpSpMk id="93" creationId="{3D60CBEF-758B-46DA-8EE1-5DA8B669C3B8}"/>
          </ac:grpSpMkLst>
        </pc:grpChg>
        <pc:grpChg chg="add mod">
          <ac:chgData name="Gysemans, Stijn" userId="47302815-14f0-4944-a346-9c5ba16265db" providerId="ADAL" clId="{3A59F78E-0E90-4D33-86BF-9F4CCB76A359}" dt="2021-02-05T10:42:52.173" v="697" actId="1076"/>
          <ac:grpSpMkLst>
            <pc:docMk/>
            <pc:sldMk cId="3944767883" sldId="2146846100"/>
            <ac:grpSpMk id="96" creationId="{D41F67CF-1F43-4F96-BFF5-B5C21B7FB806}"/>
          </ac:grpSpMkLst>
        </pc:grpChg>
        <pc:inkChg chg="add del mod">
          <ac:chgData name="Gysemans, Stijn" userId="47302815-14f0-4944-a346-9c5ba16265db" providerId="ADAL" clId="{3A59F78E-0E90-4D33-86BF-9F4CCB76A359}" dt="2021-02-05T10:45:11.746" v="758" actId="9405"/>
          <ac:inkMkLst>
            <pc:docMk/>
            <pc:sldMk cId="3944767883" sldId="2146846100"/>
            <ac:inkMk id="6" creationId="{1BC2BD02-0B3B-48CE-83E2-FA4C8C5B2BF7}"/>
          </ac:inkMkLst>
        </pc:inkChg>
        <pc:inkChg chg="add del mod">
          <ac:chgData name="Gysemans, Stijn" userId="47302815-14f0-4944-a346-9c5ba16265db" providerId="ADAL" clId="{3A59F78E-0E90-4D33-86BF-9F4CCB76A359}" dt="2021-02-05T10:45:10.578" v="757"/>
          <ac:inkMkLst>
            <pc:docMk/>
            <pc:sldMk cId="3944767883" sldId="2146846100"/>
            <ac:inkMk id="7" creationId="{48BEA943-6BC5-46C2-8FF4-C26BB299D9CC}"/>
          </ac:inkMkLst>
        </pc:inkChg>
        <pc:inkChg chg="add del mod">
          <ac:chgData name="Gysemans, Stijn" userId="47302815-14f0-4944-a346-9c5ba16265db" providerId="ADAL" clId="{3A59F78E-0E90-4D33-86BF-9F4CCB76A359}" dt="2021-02-05T10:45:27.645" v="764" actId="9405"/>
          <ac:inkMkLst>
            <pc:docMk/>
            <pc:sldMk cId="3944767883" sldId="2146846100"/>
            <ac:inkMk id="9" creationId="{7D4D7D39-6E95-4379-A8F6-121D3A3A6317}"/>
          </ac:inkMkLst>
        </pc:inkChg>
        <pc:inkChg chg="add del mod">
          <ac:chgData name="Gysemans, Stijn" userId="47302815-14f0-4944-a346-9c5ba16265db" providerId="ADAL" clId="{3A59F78E-0E90-4D33-86BF-9F4CCB76A359}" dt="2021-02-05T10:45:27.039" v="763"/>
          <ac:inkMkLst>
            <pc:docMk/>
            <pc:sldMk cId="3944767883" sldId="2146846100"/>
            <ac:inkMk id="10" creationId="{2EA48136-63CD-4E4B-9E15-992760B73E9C}"/>
          </ac:inkMkLst>
        </pc:inkChg>
        <pc:cxnChg chg="add mod">
          <ac:chgData name="Gysemans, Stijn" userId="47302815-14f0-4944-a346-9c5ba16265db" providerId="ADAL" clId="{3A59F78E-0E90-4D33-86BF-9F4CCB76A359}" dt="2021-02-05T11:19:18.168" v="1351" actId="1076"/>
          <ac:cxnSpMkLst>
            <pc:docMk/>
            <pc:sldMk cId="3944767883" sldId="2146846100"/>
            <ac:cxnSpMk id="16" creationId="{B8D6B781-9630-411C-B0AC-8FB337FB0154}"/>
          </ac:cxnSpMkLst>
        </pc:cxnChg>
        <pc:cxnChg chg="add mod">
          <ac:chgData name="Gysemans, Stijn" userId="47302815-14f0-4944-a346-9c5ba16265db" providerId="ADAL" clId="{3A59F78E-0E90-4D33-86BF-9F4CCB76A359}" dt="2021-02-05T10:42:52.173" v="697" actId="1076"/>
          <ac:cxnSpMkLst>
            <pc:docMk/>
            <pc:sldMk cId="3944767883" sldId="2146846100"/>
            <ac:cxnSpMk id="102" creationId="{162B0B5A-5408-413B-A379-544A74989B34}"/>
          </ac:cxnSpMkLst>
        </pc:cxnChg>
        <pc:cxnChg chg="add mod">
          <ac:chgData name="Gysemans, Stijn" userId="47302815-14f0-4944-a346-9c5ba16265db" providerId="ADAL" clId="{3A59F78E-0E90-4D33-86BF-9F4CCB76A359}" dt="2021-02-05T10:42:52.173" v="697" actId="1076"/>
          <ac:cxnSpMkLst>
            <pc:docMk/>
            <pc:sldMk cId="3944767883" sldId="2146846100"/>
            <ac:cxnSpMk id="103" creationId="{CBE89621-A238-45E3-B92C-58DEE6BDF533}"/>
          </ac:cxnSpMkLst>
        </pc:cxnChg>
        <pc:cxnChg chg="add mod">
          <ac:chgData name="Gysemans, Stijn" userId="47302815-14f0-4944-a346-9c5ba16265db" providerId="ADAL" clId="{3A59F78E-0E90-4D33-86BF-9F4CCB76A359}" dt="2021-02-05T10:42:52.173" v="697" actId="1076"/>
          <ac:cxnSpMkLst>
            <pc:docMk/>
            <pc:sldMk cId="3944767883" sldId="2146846100"/>
            <ac:cxnSpMk id="104" creationId="{C02D4B5B-2826-4903-AE05-A38538F04BF4}"/>
          </ac:cxnSpMkLst>
        </pc:cxnChg>
      </pc:sldChg>
      <pc:sldChg chg="addSp delSp modSp add mod">
        <pc:chgData name="Gysemans, Stijn" userId="47302815-14f0-4944-a346-9c5ba16265db" providerId="ADAL" clId="{3A59F78E-0E90-4D33-86BF-9F4CCB76A359}" dt="2021-02-08T09:07:09.146" v="5147" actId="20577"/>
        <pc:sldMkLst>
          <pc:docMk/>
          <pc:sldMk cId="1078899184" sldId="2146846101"/>
        </pc:sldMkLst>
        <pc:spChg chg="add mod">
          <ac:chgData name="Gysemans, Stijn" userId="47302815-14f0-4944-a346-9c5ba16265db" providerId="ADAL" clId="{3A59F78E-0E90-4D33-86BF-9F4CCB76A359}" dt="2021-02-05T10:56:10.744" v="937" actId="14100"/>
          <ac:spMkLst>
            <pc:docMk/>
            <pc:sldMk cId="1078899184" sldId="2146846101"/>
            <ac:spMk id="2" creationId="{C5982445-80BD-41F0-B9BE-011EF3FEC142}"/>
          </ac:spMkLst>
        </pc:spChg>
        <pc:spChg chg="add mod">
          <ac:chgData name="Gysemans, Stijn" userId="47302815-14f0-4944-a346-9c5ba16265db" providerId="ADAL" clId="{3A59F78E-0E90-4D33-86BF-9F4CCB76A359}" dt="2021-02-08T09:07:03.166" v="5143" actId="21"/>
          <ac:spMkLst>
            <pc:docMk/>
            <pc:sldMk cId="1078899184" sldId="2146846101"/>
            <ac:spMk id="3" creationId="{36D08BF4-F7A5-4A22-A02E-C293E76B0693}"/>
          </ac:spMkLst>
        </pc:spChg>
        <pc:spChg chg="mod">
          <ac:chgData name="Gysemans, Stijn" userId="47302815-14f0-4944-a346-9c5ba16265db" providerId="ADAL" clId="{3A59F78E-0E90-4D33-86BF-9F4CCB76A359}" dt="2021-02-05T11:11:32.682" v="1185" actId="20577"/>
          <ac:spMkLst>
            <pc:docMk/>
            <pc:sldMk cId="1078899184" sldId="2146846101"/>
            <ac:spMk id="4" creationId="{D5C9DF6C-78C6-43F0-9B7F-87B36C1B517E}"/>
          </ac:spMkLst>
        </pc:spChg>
        <pc:spChg chg="del">
          <ac:chgData name="Gysemans, Stijn" userId="47302815-14f0-4944-a346-9c5ba16265db" providerId="ADAL" clId="{3A59F78E-0E90-4D33-86BF-9F4CCB76A359}" dt="2021-02-05T10:49:03.610" v="844" actId="478"/>
          <ac:spMkLst>
            <pc:docMk/>
            <pc:sldMk cId="1078899184" sldId="2146846101"/>
            <ac:spMk id="56" creationId="{A23F441A-328B-466B-81B6-AEFC6080DC11}"/>
          </ac:spMkLst>
        </pc:spChg>
        <pc:spChg chg="add mod">
          <ac:chgData name="Gysemans, Stijn" userId="47302815-14f0-4944-a346-9c5ba16265db" providerId="ADAL" clId="{3A59F78E-0E90-4D33-86BF-9F4CCB76A359}" dt="2021-02-05T10:48:19.681" v="830"/>
          <ac:spMkLst>
            <pc:docMk/>
            <pc:sldMk cId="1078899184" sldId="2146846101"/>
            <ac:spMk id="57" creationId="{71F99101-A1FB-4670-9C7B-34867AB858ED}"/>
          </ac:spMkLst>
        </pc:spChg>
        <pc:spChg chg="add mod">
          <ac:chgData name="Gysemans, Stijn" userId="47302815-14f0-4944-a346-9c5ba16265db" providerId="ADAL" clId="{3A59F78E-0E90-4D33-86BF-9F4CCB76A359}" dt="2021-02-05T10:56:10.744" v="937" actId="14100"/>
          <ac:spMkLst>
            <pc:docMk/>
            <pc:sldMk cId="1078899184" sldId="2146846101"/>
            <ac:spMk id="58" creationId="{22266F8F-8DE5-483F-AA25-88BDF2054E5B}"/>
          </ac:spMkLst>
        </pc:spChg>
        <pc:spChg chg="del">
          <ac:chgData name="Gysemans, Stijn" userId="47302815-14f0-4944-a346-9c5ba16265db" providerId="ADAL" clId="{3A59F78E-0E90-4D33-86BF-9F4CCB76A359}" dt="2021-02-05T10:49:03.610" v="844" actId="478"/>
          <ac:spMkLst>
            <pc:docMk/>
            <pc:sldMk cId="1078899184" sldId="2146846101"/>
            <ac:spMk id="59" creationId="{1E7E3C76-D25C-4B35-9349-329C059F38A2}"/>
          </ac:spMkLst>
        </pc:spChg>
        <pc:spChg chg="del">
          <ac:chgData name="Gysemans, Stijn" userId="47302815-14f0-4944-a346-9c5ba16265db" providerId="ADAL" clId="{3A59F78E-0E90-4D33-86BF-9F4CCB76A359}" dt="2021-02-05T10:49:03.610" v="844" actId="478"/>
          <ac:spMkLst>
            <pc:docMk/>
            <pc:sldMk cId="1078899184" sldId="2146846101"/>
            <ac:spMk id="60" creationId="{D0339AC3-7EDC-4BD4-88DC-B3A6FF519A65}"/>
          </ac:spMkLst>
        </pc:spChg>
        <pc:spChg chg="del">
          <ac:chgData name="Gysemans, Stijn" userId="47302815-14f0-4944-a346-9c5ba16265db" providerId="ADAL" clId="{3A59F78E-0E90-4D33-86BF-9F4CCB76A359}" dt="2021-02-05T10:49:03.610" v="844" actId="478"/>
          <ac:spMkLst>
            <pc:docMk/>
            <pc:sldMk cId="1078899184" sldId="2146846101"/>
            <ac:spMk id="61" creationId="{3A148C95-431B-41BC-921E-A0086B8163F0}"/>
          </ac:spMkLst>
        </pc:spChg>
        <pc:spChg chg="del">
          <ac:chgData name="Gysemans, Stijn" userId="47302815-14f0-4944-a346-9c5ba16265db" providerId="ADAL" clId="{3A59F78E-0E90-4D33-86BF-9F4CCB76A359}" dt="2021-02-05T10:49:03.610" v="844" actId="478"/>
          <ac:spMkLst>
            <pc:docMk/>
            <pc:sldMk cId="1078899184" sldId="2146846101"/>
            <ac:spMk id="62" creationId="{03DE4AFF-3A5E-4C89-BC5D-FF71918526DF}"/>
          </ac:spMkLst>
        </pc:spChg>
        <pc:spChg chg="del">
          <ac:chgData name="Gysemans, Stijn" userId="47302815-14f0-4944-a346-9c5ba16265db" providerId="ADAL" clId="{3A59F78E-0E90-4D33-86BF-9F4CCB76A359}" dt="2021-02-05T10:49:03.610" v="844" actId="478"/>
          <ac:spMkLst>
            <pc:docMk/>
            <pc:sldMk cId="1078899184" sldId="2146846101"/>
            <ac:spMk id="99" creationId="{D2F91F92-16D8-49CA-B96A-AA188052A34D}"/>
          </ac:spMkLst>
        </pc:spChg>
        <pc:spChg chg="del">
          <ac:chgData name="Gysemans, Stijn" userId="47302815-14f0-4944-a346-9c5ba16265db" providerId="ADAL" clId="{3A59F78E-0E90-4D33-86BF-9F4CCB76A359}" dt="2021-02-05T10:49:03.610" v="844" actId="478"/>
          <ac:spMkLst>
            <pc:docMk/>
            <pc:sldMk cId="1078899184" sldId="2146846101"/>
            <ac:spMk id="100" creationId="{45CA60B0-E6FF-4BFE-AEF8-F463371B07CD}"/>
          </ac:spMkLst>
        </pc:spChg>
        <pc:spChg chg="del">
          <ac:chgData name="Gysemans, Stijn" userId="47302815-14f0-4944-a346-9c5ba16265db" providerId="ADAL" clId="{3A59F78E-0E90-4D33-86BF-9F4CCB76A359}" dt="2021-02-05T10:49:03.610" v="844" actId="478"/>
          <ac:spMkLst>
            <pc:docMk/>
            <pc:sldMk cId="1078899184" sldId="2146846101"/>
            <ac:spMk id="101" creationId="{518613C7-55E5-4D25-BE43-7404BEB7AD81}"/>
          </ac:spMkLst>
        </pc:spChg>
        <pc:spChg chg="del">
          <ac:chgData name="Gysemans, Stijn" userId="47302815-14f0-4944-a346-9c5ba16265db" providerId="ADAL" clId="{3A59F78E-0E90-4D33-86BF-9F4CCB76A359}" dt="2021-02-05T10:49:06.299" v="845" actId="478"/>
          <ac:spMkLst>
            <pc:docMk/>
            <pc:sldMk cId="1078899184" sldId="2146846101"/>
            <ac:spMk id="105" creationId="{FC63A1B2-505C-4971-B749-BA128C4AE38F}"/>
          </ac:spMkLst>
        </pc:spChg>
        <pc:spChg chg="add mod">
          <ac:chgData name="Gysemans, Stijn" userId="47302815-14f0-4944-a346-9c5ba16265db" providerId="ADAL" clId="{3A59F78E-0E90-4D33-86BF-9F4CCB76A359}" dt="2021-02-05T10:56:10.744" v="937" actId="14100"/>
          <ac:spMkLst>
            <pc:docMk/>
            <pc:sldMk cId="1078899184" sldId="2146846101"/>
            <ac:spMk id="106" creationId="{D7015639-C153-4C5D-AB26-ADC7FEDE752E}"/>
          </ac:spMkLst>
        </pc:spChg>
        <pc:spChg chg="add mod">
          <ac:chgData name="Gysemans, Stijn" userId="47302815-14f0-4944-a346-9c5ba16265db" providerId="ADAL" clId="{3A59F78E-0E90-4D33-86BF-9F4CCB76A359}" dt="2021-02-05T10:56:10.744" v="937" actId="14100"/>
          <ac:spMkLst>
            <pc:docMk/>
            <pc:sldMk cId="1078899184" sldId="2146846101"/>
            <ac:spMk id="107" creationId="{98A2F6A8-6E46-4971-A4C6-FBB5C9C6D9EE}"/>
          </ac:spMkLst>
        </pc:spChg>
        <pc:spChg chg="add mod">
          <ac:chgData name="Gysemans, Stijn" userId="47302815-14f0-4944-a346-9c5ba16265db" providerId="ADAL" clId="{3A59F78E-0E90-4D33-86BF-9F4CCB76A359}" dt="2021-02-08T09:05:49.187" v="5133" actId="20577"/>
          <ac:spMkLst>
            <pc:docMk/>
            <pc:sldMk cId="1078899184" sldId="2146846101"/>
            <ac:spMk id="108" creationId="{450DB8A9-39FB-4026-BF2F-8BBF69B6C7AE}"/>
          </ac:spMkLst>
        </pc:spChg>
        <pc:spChg chg="add mod">
          <ac:chgData name="Gysemans, Stijn" userId="47302815-14f0-4944-a346-9c5ba16265db" providerId="ADAL" clId="{3A59F78E-0E90-4D33-86BF-9F4CCB76A359}" dt="2021-02-08T09:07:09.146" v="5147" actId="20577"/>
          <ac:spMkLst>
            <pc:docMk/>
            <pc:sldMk cId="1078899184" sldId="2146846101"/>
            <ac:spMk id="109" creationId="{94FC569E-DBC2-4662-B723-45015F12E216}"/>
          </ac:spMkLst>
        </pc:spChg>
        <pc:spChg chg="add mod">
          <ac:chgData name="Gysemans, Stijn" userId="47302815-14f0-4944-a346-9c5ba16265db" providerId="ADAL" clId="{3A59F78E-0E90-4D33-86BF-9F4CCB76A359}" dt="2021-02-08T09:06:21.591" v="5140" actId="20577"/>
          <ac:spMkLst>
            <pc:docMk/>
            <pc:sldMk cId="1078899184" sldId="2146846101"/>
            <ac:spMk id="110" creationId="{69D0AEC9-06C6-44C9-85CA-FF3429DBA06B}"/>
          </ac:spMkLst>
        </pc:spChg>
        <pc:spChg chg="add mod">
          <ac:chgData name="Gysemans, Stijn" userId="47302815-14f0-4944-a346-9c5ba16265db" providerId="ADAL" clId="{3A59F78E-0E90-4D33-86BF-9F4CCB76A359}" dt="2021-02-05T10:56:05.526" v="936" actId="14100"/>
          <ac:spMkLst>
            <pc:docMk/>
            <pc:sldMk cId="1078899184" sldId="2146846101"/>
            <ac:spMk id="111" creationId="{20EBDAF2-E2B3-4EEE-A2C6-E48BD73A2964}"/>
          </ac:spMkLst>
        </pc:spChg>
        <pc:spChg chg="add mod">
          <ac:chgData name="Gysemans, Stijn" userId="47302815-14f0-4944-a346-9c5ba16265db" providerId="ADAL" clId="{3A59F78E-0E90-4D33-86BF-9F4CCB76A359}" dt="2021-02-05T11:12:14.818" v="1188" actId="404"/>
          <ac:spMkLst>
            <pc:docMk/>
            <pc:sldMk cId="1078899184" sldId="2146846101"/>
            <ac:spMk id="112" creationId="{BBA48754-E4CE-4209-A39F-B8EBAA256618}"/>
          </ac:spMkLst>
        </pc:spChg>
        <pc:spChg chg="add mod">
          <ac:chgData name="Gysemans, Stijn" userId="47302815-14f0-4944-a346-9c5ba16265db" providerId="ADAL" clId="{3A59F78E-0E90-4D33-86BF-9F4CCB76A359}" dt="2021-02-05T11:20:22.105" v="1415" actId="14100"/>
          <ac:spMkLst>
            <pc:docMk/>
            <pc:sldMk cId="1078899184" sldId="2146846101"/>
            <ac:spMk id="113" creationId="{D5989D75-2691-46BC-B70A-DC761D435D65}"/>
          </ac:spMkLst>
        </pc:spChg>
        <pc:grpChg chg="del">
          <ac:chgData name="Gysemans, Stijn" userId="47302815-14f0-4944-a346-9c5ba16265db" providerId="ADAL" clId="{3A59F78E-0E90-4D33-86BF-9F4CCB76A359}" dt="2021-02-05T10:49:03.610" v="844" actId="478"/>
          <ac:grpSpMkLst>
            <pc:docMk/>
            <pc:sldMk cId="1078899184" sldId="2146846101"/>
            <ac:grpSpMk id="63" creationId="{0A9596A0-1101-46E1-890C-E04B38CC39F8}"/>
          </ac:grpSpMkLst>
        </pc:grpChg>
        <pc:grpChg chg="del">
          <ac:chgData name="Gysemans, Stijn" userId="47302815-14f0-4944-a346-9c5ba16265db" providerId="ADAL" clId="{3A59F78E-0E90-4D33-86BF-9F4CCB76A359}" dt="2021-02-05T10:49:03.610" v="844" actId="478"/>
          <ac:grpSpMkLst>
            <pc:docMk/>
            <pc:sldMk cId="1078899184" sldId="2146846101"/>
            <ac:grpSpMk id="67" creationId="{CF5AB62B-4A27-410D-9348-9B7D745B4E7C}"/>
          </ac:grpSpMkLst>
        </pc:grpChg>
        <pc:grpChg chg="del">
          <ac:chgData name="Gysemans, Stijn" userId="47302815-14f0-4944-a346-9c5ba16265db" providerId="ADAL" clId="{3A59F78E-0E90-4D33-86BF-9F4CCB76A359}" dt="2021-02-05T10:49:03.610" v="844" actId="478"/>
          <ac:grpSpMkLst>
            <pc:docMk/>
            <pc:sldMk cId="1078899184" sldId="2146846101"/>
            <ac:grpSpMk id="73" creationId="{27F7E7D6-1124-4A5F-8A69-B757C0438C27}"/>
          </ac:grpSpMkLst>
        </pc:grpChg>
        <pc:grpChg chg="del">
          <ac:chgData name="Gysemans, Stijn" userId="47302815-14f0-4944-a346-9c5ba16265db" providerId="ADAL" clId="{3A59F78E-0E90-4D33-86BF-9F4CCB76A359}" dt="2021-02-05T10:49:03.610" v="844" actId="478"/>
          <ac:grpSpMkLst>
            <pc:docMk/>
            <pc:sldMk cId="1078899184" sldId="2146846101"/>
            <ac:grpSpMk id="79" creationId="{1D18576C-399A-4950-B5C3-A7A0574A82C2}"/>
          </ac:grpSpMkLst>
        </pc:grpChg>
        <pc:grpChg chg="del">
          <ac:chgData name="Gysemans, Stijn" userId="47302815-14f0-4944-a346-9c5ba16265db" providerId="ADAL" clId="{3A59F78E-0E90-4D33-86BF-9F4CCB76A359}" dt="2021-02-05T10:49:03.610" v="844" actId="478"/>
          <ac:grpSpMkLst>
            <pc:docMk/>
            <pc:sldMk cId="1078899184" sldId="2146846101"/>
            <ac:grpSpMk id="85" creationId="{3EAA7720-5424-4EB4-ADF2-696E136AD3D5}"/>
          </ac:grpSpMkLst>
        </pc:grpChg>
        <pc:grpChg chg="del">
          <ac:chgData name="Gysemans, Stijn" userId="47302815-14f0-4944-a346-9c5ba16265db" providerId="ADAL" clId="{3A59F78E-0E90-4D33-86BF-9F4CCB76A359}" dt="2021-02-05T10:49:03.610" v="844" actId="478"/>
          <ac:grpSpMkLst>
            <pc:docMk/>
            <pc:sldMk cId="1078899184" sldId="2146846101"/>
            <ac:grpSpMk id="90" creationId="{282229C8-F29E-49BA-BFB7-62B6D75379DC}"/>
          </ac:grpSpMkLst>
        </pc:grpChg>
        <pc:grpChg chg="del">
          <ac:chgData name="Gysemans, Stijn" userId="47302815-14f0-4944-a346-9c5ba16265db" providerId="ADAL" clId="{3A59F78E-0E90-4D33-86BF-9F4CCB76A359}" dt="2021-02-05T10:49:03.610" v="844" actId="478"/>
          <ac:grpSpMkLst>
            <pc:docMk/>
            <pc:sldMk cId="1078899184" sldId="2146846101"/>
            <ac:grpSpMk id="93" creationId="{3D60CBEF-758B-46DA-8EE1-5DA8B669C3B8}"/>
          </ac:grpSpMkLst>
        </pc:grpChg>
        <pc:grpChg chg="del">
          <ac:chgData name="Gysemans, Stijn" userId="47302815-14f0-4944-a346-9c5ba16265db" providerId="ADAL" clId="{3A59F78E-0E90-4D33-86BF-9F4CCB76A359}" dt="2021-02-05T10:49:03.610" v="844" actId="478"/>
          <ac:grpSpMkLst>
            <pc:docMk/>
            <pc:sldMk cId="1078899184" sldId="2146846101"/>
            <ac:grpSpMk id="96" creationId="{D41F67CF-1F43-4F96-BFF5-B5C21B7FB806}"/>
          </ac:grpSpMkLst>
        </pc:grpChg>
        <pc:cxnChg chg="del">
          <ac:chgData name="Gysemans, Stijn" userId="47302815-14f0-4944-a346-9c5ba16265db" providerId="ADAL" clId="{3A59F78E-0E90-4D33-86BF-9F4CCB76A359}" dt="2021-02-05T10:49:03.610" v="844" actId="478"/>
          <ac:cxnSpMkLst>
            <pc:docMk/>
            <pc:sldMk cId="1078899184" sldId="2146846101"/>
            <ac:cxnSpMk id="16" creationId="{B8D6B781-9630-411C-B0AC-8FB337FB0154}"/>
          </ac:cxnSpMkLst>
        </pc:cxnChg>
        <pc:cxnChg chg="del">
          <ac:chgData name="Gysemans, Stijn" userId="47302815-14f0-4944-a346-9c5ba16265db" providerId="ADAL" clId="{3A59F78E-0E90-4D33-86BF-9F4CCB76A359}" dt="2021-02-05T10:49:03.610" v="844" actId="478"/>
          <ac:cxnSpMkLst>
            <pc:docMk/>
            <pc:sldMk cId="1078899184" sldId="2146846101"/>
            <ac:cxnSpMk id="102" creationId="{162B0B5A-5408-413B-A379-544A74989B34}"/>
          </ac:cxnSpMkLst>
        </pc:cxnChg>
        <pc:cxnChg chg="del">
          <ac:chgData name="Gysemans, Stijn" userId="47302815-14f0-4944-a346-9c5ba16265db" providerId="ADAL" clId="{3A59F78E-0E90-4D33-86BF-9F4CCB76A359}" dt="2021-02-05T10:49:03.610" v="844" actId="478"/>
          <ac:cxnSpMkLst>
            <pc:docMk/>
            <pc:sldMk cId="1078899184" sldId="2146846101"/>
            <ac:cxnSpMk id="103" creationId="{CBE89621-A238-45E3-B92C-58DEE6BDF533}"/>
          </ac:cxnSpMkLst>
        </pc:cxnChg>
        <pc:cxnChg chg="del">
          <ac:chgData name="Gysemans, Stijn" userId="47302815-14f0-4944-a346-9c5ba16265db" providerId="ADAL" clId="{3A59F78E-0E90-4D33-86BF-9F4CCB76A359}" dt="2021-02-05T10:49:03.610" v="844" actId="478"/>
          <ac:cxnSpMkLst>
            <pc:docMk/>
            <pc:sldMk cId="1078899184" sldId="2146846101"/>
            <ac:cxnSpMk id="104" creationId="{C02D4B5B-2826-4903-AE05-A38538F04BF4}"/>
          </ac:cxnSpMkLst>
        </pc:cxnChg>
        <pc:cxnChg chg="add mod">
          <ac:chgData name="Gysemans, Stijn" userId="47302815-14f0-4944-a346-9c5ba16265db" providerId="ADAL" clId="{3A59F78E-0E90-4D33-86BF-9F4CCB76A359}" dt="2021-02-05T11:20:08.604" v="1382" actId="14100"/>
          <ac:cxnSpMkLst>
            <pc:docMk/>
            <pc:sldMk cId="1078899184" sldId="2146846101"/>
            <ac:cxnSpMk id="114" creationId="{67F17F12-6CFA-4923-8C31-CD23AF49C64B}"/>
          </ac:cxnSpMkLst>
        </pc:cxnChg>
      </pc:sldChg>
      <pc:sldChg chg="addSp delSp modSp add mod">
        <pc:chgData name="Gysemans, Stijn" userId="47302815-14f0-4944-a346-9c5ba16265db" providerId="ADAL" clId="{3A59F78E-0E90-4D33-86BF-9F4CCB76A359}" dt="2021-02-05T11:28:51.475" v="1779" actId="20577"/>
        <pc:sldMkLst>
          <pc:docMk/>
          <pc:sldMk cId="3128239242" sldId="2146846102"/>
        </pc:sldMkLst>
        <pc:spChg chg="mod topLvl">
          <ac:chgData name="Gysemans, Stijn" userId="47302815-14f0-4944-a346-9c5ba16265db" providerId="ADAL" clId="{3A59F78E-0E90-4D33-86BF-9F4CCB76A359}" dt="2021-02-05T11:13:25.658" v="1213" actId="20577"/>
          <ac:spMkLst>
            <pc:docMk/>
            <pc:sldMk cId="3128239242" sldId="2146846102"/>
            <ac:spMk id="2" creationId="{C5982445-80BD-41F0-B9BE-011EF3FEC142}"/>
          </ac:spMkLst>
        </pc:spChg>
        <pc:spChg chg="del">
          <ac:chgData name="Gysemans, Stijn" userId="47302815-14f0-4944-a346-9c5ba16265db" providerId="ADAL" clId="{3A59F78E-0E90-4D33-86BF-9F4CCB76A359}" dt="2021-02-05T11:12:53.030" v="1194" actId="478"/>
          <ac:spMkLst>
            <pc:docMk/>
            <pc:sldMk cId="3128239242" sldId="2146846102"/>
            <ac:spMk id="3" creationId="{36D08BF4-F7A5-4A22-A02E-C293E76B0693}"/>
          </ac:spMkLst>
        </pc:spChg>
        <pc:spChg chg="mod">
          <ac:chgData name="Gysemans, Stijn" userId="47302815-14f0-4944-a346-9c5ba16265db" providerId="ADAL" clId="{3A59F78E-0E90-4D33-86BF-9F4CCB76A359}" dt="2021-02-05T11:28:51.475" v="1779" actId="20577"/>
          <ac:spMkLst>
            <pc:docMk/>
            <pc:sldMk cId="3128239242" sldId="2146846102"/>
            <ac:spMk id="4" creationId="{D5C9DF6C-78C6-43F0-9B7F-87B36C1B517E}"/>
          </ac:spMkLst>
        </pc:spChg>
        <pc:spChg chg="add mod">
          <ac:chgData name="Gysemans, Stijn" userId="47302815-14f0-4944-a346-9c5ba16265db" providerId="ADAL" clId="{3A59F78E-0E90-4D33-86BF-9F4CCB76A359}" dt="2021-02-05T11:13:45.437" v="1252" actId="20577"/>
          <ac:spMkLst>
            <pc:docMk/>
            <pc:sldMk cId="3128239242" sldId="2146846102"/>
            <ac:spMk id="19" creationId="{5BCD265A-1E2B-40CA-BD6F-D5764A64928B}"/>
          </ac:spMkLst>
        </pc:spChg>
        <pc:spChg chg="add mod">
          <ac:chgData name="Gysemans, Stijn" userId="47302815-14f0-4944-a346-9c5ba16265db" providerId="ADAL" clId="{3A59F78E-0E90-4D33-86BF-9F4CCB76A359}" dt="2021-02-05T11:14:01.389" v="1263" actId="20577"/>
          <ac:spMkLst>
            <pc:docMk/>
            <pc:sldMk cId="3128239242" sldId="2146846102"/>
            <ac:spMk id="20" creationId="{48DF413C-7C10-43C6-93E7-3063AF3BA2B5}"/>
          </ac:spMkLst>
        </pc:spChg>
        <pc:spChg chg="add del mod">
          <ac:chgData name="Gysemans, Stijn" userId="47302815-14f0-4944-a346-9c5ba16265db" providerId="ADAL" clId="{3A59F78E-0E90-4D33-86BF-9F4CCB76A359}" dt="2021-02-05T11:14:06.378" v="1265" actId="478"/>
          <ac:spMkLst>
            <pc:docMk/>
            <pc:sldMk cId="3128239242" sldId="2146846102"/>
            <ac:spMk id="21" creationId="{6BD11FD7-0B04-44A3-873D-40F27600E9E1}"/>
          </ac:spMkLst>
        </pc:spChg>
        <pc:spChg chg="add mod">
          <ac:chgData name="Gysemans, Stijn" userId="47302815-14f0-4944-a346-9c5ba16265db" providerId="ADAL" clId="{3A59F78E-0E90-4D33-86BF-9F4CCB76A359}" dt="2021-02-05T11:14:44.617" v="1312" actId="20577"/>
          <ac:spMkLst>
            <pc:docMk/>
            <pc:sldMk cId="3128239242" sldId="2146846102"/>
            <ac:spMk id="22" creationId="{33FD7AB2-D00C-4CF2-AA41-F80D71A7B90D}"/>
          </ac:spMkLst>
        </pc:spChg>
        <pc:spChg chg="add mod">
          <ac:chgData name="Gysemans, Stijn" userId="47302815-14f0-4944-a346-9c5ba16265db" providerId="ADAL" clId="{3A59F78E-0E90-4D33-86BF-9F4CCB76A359}" dt="2021-02-05T11:19:02.209" v="1348" actId="20577"/>
          <ac:spMkLst>
            <pc:docMk/>
            <pc:sldMk cId="3128239242" sldId="2146846102"/>
            <ac:spMk id="23" creationId="{3143BDF0-D6EB-43DE-B4F6-104741567176}"/>
          </ac:spMkLst>
        </pc:spChg>
        <pc:spChg chg="add mod">
          <ac:chgData name="Gysemans, Stijn" userId="47302815-14f0-4944-a346-9c5ba16265db" providerId="ADAL" clId="{3A59F78E-0E90-4D33-86BF-9F4CCB76A359}" dt="2021-02-05T11:19:35.989" v="1373" actId="20577"/>
          <ac:spMkLst>
            <pc:docMk/>
            <pc:sldMk cId="3128239242" sldId="2146846102"/>
            <ac:spMk id="24" creationId="{23849DE4-6D2B-47C2-B9F4-0F7645C8E95B}"/>
          </ac:spMkLst>
        </pc:spChg>
        <pc:spChg chg="add mod">
          <ac:chgData name="Gysemans, Stijn" userId="47302815-14f0-4944-a346-9c5ba16265db" providerId="ADAL" clId="{3A59F78E-0E90-4D33-86BF-9F4CCB76A359}" dt="2021-02-05T11:28:04.145" v="1735" actId="33524"/>
          <ac:spMkLst>
            <pc:docMk/>
            <pc:sldMk cId="3128239242" sldId="2146846102"/>
            <ac:spMk id="33" creationId="{DF59D137-3D86-4A60-BE47-A3FB89D3BC31}"/>
          </ac:spMkLst>
        </pc:spChg>
        <pc:spChg chg="mod topLvl">
          <ac:chgData name="Gysemans, Stijn" userId="47302815-14f0-4944-a346-9c5ba16265db" providerId="ADAL" clId="{3A59F78E-0E90-4D33-86BF-9F4CCB76A359}" dt="2021-02-05T11:13:32.237" v="1222" actId="20577"/>
          <ac:spMkLst>
            <pc:docMk/>
            <pc:sldMk cId="3128239242" sldId="2146846102"/>
            <ac:spMk id="58" creationId="{22266F8F-8DE5-483F-AA25-88BDF2054E5B}"/>
          </ac:spMkLst>
        </pc:spChg>
        <pc:spChg chg="mod topLvl">
          <ac:chgData name="Gysemans, Stijn" userId="47302815-14f0-4944-a346-9c5ba16265db" providerId="ADAL" clId="{3A59F78E-0E90-4D33-86BF-9F4CCB76A359}" dt="2021-02-05T11:13:36.758" v="1232" actId="20577"/>
          <ac:spMkLst>
            <pc:docMk/>
            <pc:sldMk cId="3128239242" sldId="2146846102"/>
            <ac:spMk id="106" creationId="{D7015639-C153-4C5D-AB26-ADC7FEDE752E}"/>
          </ac:spMkLst>
        </pc:spChg>
        <pc:spChg chg="mod topLvl">
          <ac:chgData name="Gysemans, Stijn" userId="47302815-14f0-4944-a346-9c5ba16265db" providerId="ADAL" clId="{3A59F78E-0E90-4D33-86BF-9F4CCB76A359}" dt="2021-02-05T11:13:41.358" v="1242" actId="20577"/>
          <ac:spMkLst>
            <pc:docMk/>
            <pc:sldMk cId="3128239242" sldId="2146846102"/>
            <ac:spMk id="107" creationId="{98A2F6A8-6E46-4971-A4C6-FBB5C9C6D9EE}"/>
          </ac:spMkLst>
        </pc:spChg>
        <pc:spChg chg="del">
          <ac:chgData name="Gysemans, Stijn" userId="47302815-14f0-4944-a346-9c5ba16265db" providerId="ADAL" clId="{3A59F78E-0E90-4D33-86BF-9F4CCB76A359}" dt="2021-02-05T11:12:53.030" v="1194" actId="478"/>
          <ac:spMkLst>
            <pc:docMk/>
            <pc:sldMk cId="3128239242" sldId="2146846102"/>
            <ac:spMk id="108" creationId="{450DB8A9-39FB-4026-BF2F-8BBF69B6C7AE}"/>
          </ac:spMkLst>
        </pc:spChg>
        <pc:spChg chg="del">
          <ac:chgData name="Gysemans, Stijn" userId="47302815-14f0-4944-a346-9c5ba16265db" providerId="ADAL" clId="{3A59F78E-0E90-4D33-86BF-9F4CCB76A359}" dt="2021-02-05T11:12:53.030" v="1194" actId="478"/>
          <ac:spMkLst>
            <pc:docMk/>
            <pc:sldMk cId="3128239242" sldId="2146846102"/>
            <ac:spMk id="109" creationId="{94FC569E-DBC2-4662-B723-45015F12E216}"/>
          </ac:spMkLst>
        </pc:spChg>
        <pc:spChg chg="del">
          <ac:chgData name="Gysemans, Stijn" userId="47302815-14f0-4944-a346-9c5ba16265db" providerId="ADAL" clId="{3A59F78E-0E90-4D33-86BF-9F4CCB76A359}" dt="2021-02-05T11:12:53.030" v="1194" actId="478"/>
          <ac:spMkLst>
            <pc:docMk/>
            <pc:sldMk cId="3128239242" sldId="2146846102"/>
            <ac:spMk id="110" creationId="{69D0AEC9-06C6-44C9-85CA-FF3429DBA06B}"/>
          </ac:spMkLst>
        </pc:spChg>
        <pc:spChg chg="del">
          <ac:chgData name="Gysemans, Stijn" userId="47302815-14f0-4944-a346-9c5ba16265db" providerId="ADAL" clId="{3A59F78E-0E90-4D33-86BF-9F4CCB76A359}" dt="2021-02-05T11:12:57.188" v="1196" actId="478"/>
          <ac:spMkLst>
            <pc:docMk/>
            <pc:sldMk cId="3128239242" sldId="2146846102"/>
            <ac:spMk id="111" creationId="{20EBDAF2-E2B3-4EEE-A2C6-E48BD73A2964}"/>
          </ac:spMkLst>
        </pc:spChg>
        <pc:spChg chg="del">
          <ac:chgData name="Gysemans, Stijn" userId="47302815-14f0-4944-a346-9c5ba16265db" providerId="ADAL" clId="{3A59F78E-0E90-4D33-86BF-9F4CCB76A359}" dt="2021-02-05T11:12:55.288" v="1195" actId="478"/>
          <ac:spMkLst>
            <pc:docMk/>
            <pc:sldMk cId="3128239242" sldId="2146846102"/>
            <ac:spMk id="112" creationId="{BBA48754-E4CE-4209-A39F-B8EBAA256618}"/>
          </ac:spMkLst>
        </pc:spChg>
        <pc:grpChg chg="add del mod">
          <ac:chgData name="Gysemans, Stijn" userId="47302815-14f0-4944-a346-9c5ba16265db" providerId="ADAL" clId="{3A59F78E-0E90-4D33-86BF-9F4CCB76A359}" dt="2021-02-05T11:13:08.301" v="1199" actId="165"/>
          <ac:grpSpMkLst>
            <pc:docMk/>
            <pc:sldMk cId="3128239242" sldId="2146846102"/>
            <ac:grpSpMk id="5" creationId="{CF1AB72D-3FCB-4D8B-93B9-F22AC40BB0B9}"/>
          </ac:grpSpMkLst>
        </pc:grpChg>
        <pc:picChg chg="add mod">
          <ac:chgData name="Gysemans, Stijn" userId="47302815-14f0-4944-a346-9c5ba16265db" providerId="ADAL" clId="{3A59F78E-0E90-4D33-86BF-9F4CCB76A359}" dt="2021-02-05T11:28:13.717" v="1736" actId="1076"/>
          <ac:picMkLst>
            <pc:docMk/>
            <pc:sldMk cId="3128239242" sldId="2146846102"/>
            <ac:picMk id="10" creationId="{FC86A929-7735-486D-8410-DC52EE44D2EB}"/>
          </ac:picMkLst>
        </pc:picChg>
        <pc:cxnChg chg="add mod">
          <ac:chgData name="Gysemans, Stijn" userId="47302815-14f0-4944-a346-9c5ba16265db" providerId="ADAL" clId="{3A59F78E-0E90-4D33-86BF-9F4CCB76A359}" dt="2021-02-05T11:19:30.753" v="1356" actId="14100"/>
          <ac:cxnSpMkLst>
            <pc:docMk/>
            <pc:sldMk cId="3128239242" sldId="2146846102"/>
            <ac:cxnSpMk id="25" creationId="{03AF0232-4138-46D5-BF08-6954D942BED0}"/>
          </ac:cxnSpMkLst>
        </pc:cxnChg>
        <pc:cxnChg chg="add mod">
          <ac:chgData name="Gysemans, Stijn" userId="47302815-14f0-4944-a346-9c5ba16265db" providerId="ADAL" clId="{3A59F78E-0E90-4D33-86BF-9F4CCB76A359}" dt="2021-02-05T11:26:20.743" v="1429" actId="14100"/>
          <ac:cxnSpMkLst>
            <pc:docMk/>
            <pc:sldMk cId="3128239242" sldId="2146846102"/>
            <ac:cxnSpMk id="31" creationId="{E4360499-9C50-4304-9AED-7231A57825BF}"/>
          </ac:cxnSpMkLst>
        </pc:cxnChg>
      </pc:sldChg>
      <pc:sldChg chg="addSp delSp modSp add mod">
        <pc:chgData name="Gysemans, Stijn" userId="47302815-14f0-4944-a346-9c5ba16265db" providerId="ADAL" clId="{3A59F78E-0E90-4D33-86BF-9F4CCB76A359}" dt="2021-02-05T12:35:17.926" v="4810" actId="20577"/>
        <pc:sldMkLst>
          <pc:docMk/>
          <pc:sldMk cId="997535890" sldId="2146846103"/>
        </pc:sldMkLst>
        <pc:spChg chg="del">
          <ac:chgData name="Gysemans, Stijn" userId="47302815-14f0-4944-a346-9c5ba16265db" providerId="ADAL" clId="{3A59F78E-0E90-4D33-86BF-9F4CCB76A359}" dt="2021-02-05T11:29:38.642" v="1815" actId="478"/>
          <ac:spMkLst>
            <pc:docMk/>
            <pc:sldMk cId="997535890" sldId="2146846103"/>
            <ac:spMk id="2" creationId="{C5982445-80BD-41F0-B9BE-011EF3FEC142}"/>
          </ac:spMkLst>
        </pc:spChg>
        <pc:spChg chg="mod">
          <ac:chgData name="Gysemans, Stijn" userId="47302815-14f0-4944-a346-9c5ba16265db" providerId="ADAL" clId="{3A59F78E-0E90-4D33-86BF-9F4CCB76A359}" dt="2021-02-05T11:29:35.382" v="1814" actId="20577"/>
          <ac:spMkLst>
            <pc:docMk/>
            <pc:sldMk cId="997535890" sldId="2146846103"/>
            <ac:spMk id="4" creationId="{D5C9DF6C-78C6-43F0-9B7F-87B36C1B517E}"/>
          </ac:spMkLst>
        </pc:spChg>
        <pc:spChg chg="del">
          <ac:chgData name="Gysemans, Stijn" userId="47302815-14f0-4944-a346-9c5ba16265db" providerId="ADAL" clId="{3A59F78E-0E90-4D33-86BF-9F4CCB76A359}" dt="2021-02-05T11:29:38.642" v="1815" actId="478"/>
          <ac:spMkLst>
            <pc:docMk/>
            <pc:sldMk cId="997535890" sldId="2146846103"/>
            <ac:spMk id="19" creationId="{5BCD265A-1E2B-40CA-BD6F-D5764A64928B}"/>
          </ac:spMkLst>
        </pc:spChg>
        <pc:spChg chg="del">
          <ac:chgData name="Gysemans, Stijn" userId="47302815-14f0-4944-a346-9c5ba16265db" providerId="ADAL" clId="{3A59F78E-0E90-4D33-86BF-9F4CCB76A359}" dt="2021-02-05T11:29:38.642" v="1815" actId="478"/>
          <ac:spMkLst>
            <pc:docMk/>
            <pc:sldMk cId="997535890" sldId="2146846103"/>
            <ac:spMk id="20" creationId="{48DF413C-7C10-43C6-93E7-3063AF3BA2B5}"/>
          </ac:spMkLst>
        </pc:spChg>
        <pc:spChg chg="add mod">
          <ac:chgData name="Gysemans, Stijn" userId="47302815-14f0-4944-a346-9c5ba16265db" providerId="ADAL" clId="{3A59F78E-0E90-4D33-86BF-9F4CCB76A359}" dt="2021-02-05T12:35:17.926" v="4810" actId="20577"/>
          <ac:spMkLst>
            <pc:docMk/>
            <pc:sldMk cId="997535890" sldId="2146846103"/>
            <ac:spMk id="21" creationId="{84A7691D-A8EC-4811-B467-AE4202B9B8E4}"/>
          </ac:spMkLst>
        </pc:spChg>
        <pc:spChg chg="del">
          <ac:chgData name="Gysemans, Stijn" userId="47302815-14f0-4944-a346-9c5ba16265db" providerId="ADAL" clId="{3A59F78E-0E90-4D33-86BF-9F4CCB76A359}" dt="2021-02-05T11:29:38.642" v="1815" actId="478"/>
          <ac:spMkLst>
            <pc:docMk/>
            <pc:sldMk cId="997535890" sldId="2146846103"/>
            <ac:spMk id="22" creationId="{33FD7AB2-D00C-4CF2-AA41-F80D71A7B90D}"/>
          </ac:spMkLst>
        </pc:spChg>
        <pc:spChg chg="del">
          <ac:chgData name="Gysemans, Stijn" userId="47302815-14f0-4944-a346-9c5ba16265db" providerId="ADAL" clId="{3A59F78E-0E90-4D33-86BF-9F4CCB76A359}" dt="2021-02-05T11:29:38.642" v="1815" actId="478"/>
          <ac:spMkLst>
            <pc:docMk/>
            <pc:sldMk cId="997535890" sldId="2146846103"/>
            <ac:spMk id="23" creationId="{3143BDF0-D6EB-43DE-B4F6-104741567176}"/>
          </ac:spMkLst>
        </pc:spChg>
        <pc:spChg chg="del">
          <ac:chgData name="Gysemans, Stijn" userId="47302815-14f0-4944-a346-9c5ba16265db" providerId="ADAL" clId="{3A59F78E-0E90-4D33-86BF-9F4CCB76A359}" dt="2021-02-05T11:29:38.642" v="1815" actId="478"/>
          <ac:spMkLst>
            <pc:docMk/>
            <pc:sldMk cId="997535890" sldId="2146846103"/>
            <ac:spMk id="24" creationId="{23849DE4-6D2B-47C2-B9F4-0F7645C8E95B}"/>
          </ac:spMkLst>
        </pc:spChg>
        <pc:spChg chg="del">
          <ac:chgData name="Gysemans, Stijn" userId="47302815-14f0-4944-a346-9c5ba16265db" providerId="ADAL" clId="{3A59F78E-0E90-4D33-86BF-9F4CCB76A359}" dt="2021-02-05T11:29:38.642" v="1815" actId="478"/>
          <ac:spMkLst>
            <pc:docMk/>
            <pc:sldMk cId="997535890" sldId="2146846103"/>
            <ac:spMk id="33" creationId="{DF59D137-3D86-4A60-BE47-A3FB89D3BC31}"/>
          </ac:spMkLst>
        </pc:spChg>
        <pc:spChg chg="del">
          <ac:chgData name="Gysemans, Stijn" userId="47302815-14f0-4944-a346-9c5ba16265db" providerId="ADAL" clId="{3A59F78E-0E90-4D33-86BF-9F4CCB76A359}" dt="2021-02-05T11:29:38.642" v="1815" actId="478"/>
          <ac:spMkLst>
            <pc:docMk/>
            <pc:sldMk cId="997535890" sldId="2146846103"/>
            <ac:spMk id="58" creationId="{22266F8F-8DE5-483F-AA25-88BDF2054E5B}"/>
          </ac:spMkLst>
        </pc:spChg>
        <pc:spChg chg="del">
          <ac:chgData name="Gysemans, Stijn" userId="47302815-14f0-4944-a346-9c5ba16265db" providerId="ADAL" clId="{3A59F78E-0E90-4D33-86BF-9F4CCB76A359}" dt="2021-02-05T11:29:38.642" v="1815" actId="478"/>
          <ac:spMkLst>
            <pc:docMk/>
            <pc:sldMk cId="997535890" sldId="2146846103"/>
            <ac:spMk id="106" creationId="{D7015639-C153-4C5D-AB26-ADC7FEDE752E}"/>
          </ac:spMkLst>
        </pc:spChg>
        <pc:spChg chg="del">
          <ac:chgData name="Gysemans, Stijn" userId="47302815-14f0-4944-a346-9c5ba16265db" providerId="ADAL" clId="{3A59F78E-0E90-4D33-86BF-9F4CCB76A359}" dt="2021-02-05T11:29:38.642" v="1815" actId="478"/>
          <ac:spMkLst>
            <pc:docMk/>
            <pc:sldMk cId="997535890" sldId="2146846103"/>
            <ac:spMk id="107" creationId="{98A2F6A8-6E46-4971-A4C6-FBB5C9C6D9EE}"/>
          </ac:spMkLst>
        </pc:spChg>
        <pc:picChg chg="del">
          <ac:chgData name="Gysemans, Stijn" userId="47302815-14f0-4944-a346-9c5ba16265db" providerId="ADAL" clId="{3A59F78E-0E90-4D33-86BF-9F4CCB76A359}" dt="2021-02-05T11:29:38.642" v="1815" actId="478"/>
          <ac:picMkLst>
            <pc:docMk/>
            <pc:sldMk cId="997535890" sldId="2146846103"/>
            <ac:picMk id="10" creationId="{FC86A929-7735-486D-8410-DC52EE44D2EB}"/>
          </ac:picMkLst>
        </pc:picChg>
        <pc:cxnChg chg="del mod">
          <ac:chgData name="Gysemans, Stijn" userId="47302815-14f0-4944-a346-9c5ba16265db" providerId="ADAL" clId="{3A59F78E-0E90-4D33-86BF-9F4CCB76A359}" dt="2021-02-05T11:29:38.642" v="1815" actId="478"/>
          <ac:cxnSpMkLst>
            <pc:docMk/>
            <pc:sldMk cId="997535890" sldId="2146846103"/>
            <ac:cxnSpMk id="25" creationId="{03AF0232-4138-46D5-BF08-6954D942BED0}"/>
          </ac:cxnSpMkLst>
        </pc:cxnChg>
        <pc:cxnChg chg="del">
          <ac:chgData name="Gysemans, Stijn" userId="47302815-14f0-4944-a346-9c5ba16265db" providerId="ADAL" clId="{3A59F78E-0E90-4D33-86BF-9F4CCB76A359}" dt="2021-02-05T11:29:38.642" v="1815" actId="478"/>
          <ac:cxnSpMkLst>
            <pc:docMk/>
            <pc:sldMk cId="997535890" sldId="2146846103"/>
            <ac:cxnSpMk id="31" creationId="{E4360499-9C50-4304-9AED-7231A57825BF}"/>
          </ac:cxnSpMkLst>
        </pc:cxnChg>
      </pc:sldChg>
      <pc:sldChg chg="addSp delSp modSp add mod">
        <pc:chgData name="Gysemans, Stijn" userId="47302815-14f0-4944-a346-9c5ba16265db" providerId="ADAL" clId="{3A59F78E-0E90-4D33-86BF-9F4CCB76A359}" dt="2021-02-05T12:40:10.447" v="4812" actId="1076"/>
        <pc:sldMkLst>
          <pc:docMk/>
          <pc:sldMk cId="2082409945" sldId="2146846104"/>
        </pc:sldMkLst>
        <pc:spChg chg="mod">
          <ac:chgData name="Gysemans, Stijn" userId="47302815-14f0-4944-a346-9c5ba16265db" providerId="ADAL" clId="{3A59F78E-0E90-4D33-86BF-9F4CCB76A359}" dt="2021-02-05T11:32:06.451" v="1982" actId="20577"/>
          <ac:spMkLst>
            <pc:docMk/>
            <pc:sldMk cId="2082409945" sldId="2146846104"/>
            <ac:spMk id="4" creationId="{D5C9DF6C-78C6-43F0-9B7F-87B36C1B517E}"/>
          </ac:spMkLst>
        </pc:spChg>
        <pc:spChg chg="add del">
          <ac:chgData name="Gysemans, Stijn" userId="47302815-14f0-4944-a346-9c5ba16265db" providerId="ADAL" clId="{3A59F78E-0E90-4D33-86BF-9F4CCB76A359}" dt="2021-02-05T11:37:41.996" v="2369" actId="22"/>
          <ac:spMkLst>
            <pc:docMk/>
            <pc:sldMk cId="2082409945" sldId="2146846104"/>
            <ac:spMk id="12" creationId="{865B2CF2-A326-4F95-B708-405A78E20543}"/>
          </ac:spMkLst>
        </pc:spChg>
        <pc:spChg chg="add mod">
          <ac:chgData name="Gysemans, Stijn" userId="47302815-14f0-4944-a346-9c5ba16265db" providerId="ADAL" clId="{3A59F78E-0E90-4D33-86BF-9F4CCB76A359}" dt="2021-02-05T11:40:17.667" v="2417" actId="1076"/>
          <ac:spMkLst>
            <pc:docMk/>
            <pc:sldMk cId="2082409945" sldId="2146846104"/>
            <ac:spMk id="13" creationId="{2E419015-1798-48FB-8F98-775ED55D877B}"/>
          </ac:spMkLst>
        </pc:spChg>
        <pc:spChg chg="add mod">
          <ac:chgData name="Gysemans, Stijn" userId="47302815-14f0-4944-a346-9c5ba16265db" providerId="ADAL" clId="{3A59F78E-0E90-4D33-86BF-9F4CCB76A359}" dt="2021-02-05T11:40:39.123" v="2430" actId="113"/>
          <ac:spMkLst>
            <pc:docMk/>
            <pc:sldMk cId="2082409945" sldId="2146846104"/>
            <ac:spMk id="14" creationId="{F4B55A5D-ABDA-44AF-AE17-B81B8ABD42C8}"/>
          </ac:spMkLst>
        </pc:spChg>
        <pc:spChg chg="add mod">
          <ac:chgData name="Gysemans, Stijn" userId="47302815-14f0-4944-a346-9c5ba16265db" providerId="ADAL" clId="{3A59F78E-0E90-4D33-86BF-9F4CCB76A359}" dt="2021-02-05T11:46:37.800" v="2858" actId="1076"/>
          <ac:spMkLst>
            <pc:docMk/>
            <pc:sldMk cId="2082409945" sldId="2146846104"/>
            <ac:spMk id="15" creationId="{C47BE1A6-F8DA-4500-8A21-E6614AED8239}"/>
          </ac:spMkLst>
        </pc:spChg>
        <pc:spChg chg="del">
          <ac:chgData name="Gysemans, Stijn" userId="47302815-14f0-4944-a346-9c5ba16265db" providerId="ADAL" clId="{3A59F78E-0E90-4D33-86BF-9F4CCB76A359}" dt="2021-02-05T11:32:11.310" v="1983" actId="478"/>
          <ac:spMkLst>
            <pc:docMk/>
            <pc:sldMk cId="2082409945" sldId="2146846104"/>
            <ac:spMk id="21" creationId="{84A7691D-A8EC-4811-B467-AE4202B9B8E4}"/>
          </ac:spMkLst>
        </pc:spChg>
        <pc:spChg chg="add mod">
          <ac:chgData name="Gysemans, Stijn" userId="47302815-14f0-4944-a346-9c5ba16265db" providerId="ADAL" clId="{3A59F78E-0E90-4D33-86BF-9F4CCB76A359}" dt="2021-02-05T11:46:51.609" v="2862" actId="1076"/>
          <ac:spMkLst>
            <pc:docMk/>
            <pc:sldMk cId="2082409945" sldId="2146846104"/>
            <ac:spMk id="23" creationId="{75D69F7E-54A3-4DFD-B15C-B54C7A9F7303}"/>
          </ac:spMkLst>
        </pc:spChg>
        <pc:spChg chg="add mod">
          <ac:chgData name="Gysemans, Stijn" userId="47302815-14f0-4944-a346-9c5ba16265db" providerId="ADAL" clId="{3A59F78E-0E90-4D33-86BF-9F4CCB76A359}" dt="2021-02-05T11:41:41.064" v="2548" actId="1076"/>
          <ac:spMkLst>
            <pc:docMk/>
            <pc:sldMk cId="2082409945" sldId="2146846104"/>
            <ac:spMk id="24" creationId="{FBC28E13-4B44-47A1-BA57-6D8D2AD89162}"/>
          </ac:spMkLst>
        </pc:spChg>
        <pc:spChg chg="add del">
          <ac:chgData name="Gysemans, Stijn" userId="47302815-14f0-4944-a346-9c5ba16265db" providerId="ADAL" clId="{3A59F78E-0E90-4D33-86BF-9F4CCB76A359}" dt="2021-02-05T11:41:50.517" v="2550" actId="22"/>
          <ac:spMkLst>
            <pc:docMk/>
            <pc:sldMk cId="2082409945" sldId="2146846104"/>
            <ac:spMk id="26" creationId="{84D5B475-40F6-4FD7-BFA9-C76006056F46}"/>
          </ac:spMkLst>
        </pc:spChg>
        <pc:spChg chg="add mod">
          <ac:chgData name="Gysemans, Stijn" userId="47302815-14f0-4944-a346-9c5ba16265db" providerId="ADAL" clId="{3A59F78E-0E90-4D33-86BF-9F4CCB76A359}" dt="2021-02-05T11:44:09.127" v="2761" actId="20577"/>
          <ac:spMkLst>
            <pc:docMk/>
            <pc:sldMk cId="2082409945" sldId="2146846104"/>
            <ac:spMk id="28" creationId="{63A20ACB-8078-4831-96D8-147895F4DEE9}"/>
          </ac:spMkLst>
        </pc:spChg>
        <pc:spChg chg="add mod">
          <ac:chgData name="Gysemans, Stijn" userId="47302815-14f0-4944-a346-9c5ba16265db" providerId="ADAL" clId="{3A59F78E-0E90-4D33-86BF-9F4CCB76A359}" dt="2021-02-05T11:45:42.024" v="2849" actId="14100"/>
          <ac:spMkLst>
            <pc:docMk/>
            <pc:sldMk cId="2082409945" sldId="2146846104"/>
            <ac:spMk id="29" creationId="{40308928-8512-49AC-AC6A-C5EB4E2285D8}"/>
          </ac:spMkLst>
        </pc:spChg>
        <pc:spChg chg="add mod">
          <ac:chgData name="Gysemans, Stijn" userId="47302815-14f0-4944-a346-9c5ba16265db" providerId="ADAL" clId="{3A59F78E-0E90-4D33-86BF-9F4CCB76A359}" dt="2021-02-05T11:46:51.609" v="2862" actId="1076"/>
          <ac:spMkLst>
            <pc:docMk/>
            <pc:sldMk cId="2082409945" sldId="2146846104"/>
            <ac:spMk id="30" creationId="{B7922C3E-0659-490A-BE61-95B63935EC4D}"/>
          </ac:spMkLst>
        </pc:spChg>
        <pc:spChg chg="add mod">
          <ac:chgData name="Gysemans, Stijn" userId="47302815-14f0-4944-a346-9c5ba16265db" providerId="ADAL" clId="{3A59F78E-0E90-4D33-86BF-9F4CCB76A359}" dt="2021-02-05T11:49:00.292" v="2981" actId="1076"/>
          <ac:spMkLst>
            <pc:docMk/>
            <pc:sldMk cId="2082409945" sldId="2146846104"/>
            <ac:spMk id="38" creationId="{5584B87A-4718-4169-A537-6325DB5BA3A5}"/>
          </ac:spMkLst>
        </pc:spChg>
        <pc:picChg chg="add mod">
          <ac:chgData name="Gysemans, Stijn" userId="47302815-14f0-4944-a346-9c5ba16265db" providerId="ADAL" clId="{3A59F78E-0E90-4D33-86BF-9F4CCB76A359}" dt="2021-02-05T11:46:34.649" v="2857" actId="1076"/>
          <ac:picMkLst>
            <pc:docMk/>
            <pc:sldMk cId="2082409945" sldId="2146846104"/>
            <ac:picMk id="9" creationId="{01292EE8-4349-4552-88B1-00300A248BDB}"/>
          </ac:picMkLst>
        </pc:picChg>
        <pc:picChg chg="add mod">
          <ac:chgData name="Gysemans, Stijn" userId="47302815-14f0-4944-a346-9c5ba16265db" providerId="ADAL" clId="{3A59F78E-0E90-4D33-86BF-9F4CCB76A359}" dt="2021-02-05T11:37:53.793" v="2374" actId="1076"/>
          <ac:picMkLst>
            <pc:docMk/>
            <pc:sldMk cId="2082409945" sldId="2146846104"/>
            <ac:picMk id="10" creationId="{469D8C26-CD62-4CAF-BF59-12A51CFDCC80}"/>
          </ac:picMkLst>
        </pc:picChg>
        <pc:picChg chg="add mod">
          <ac:chgData name="Gysemans, Stijn" userId="47302815-14f0-4944-a346-9c5ba16265db" providerId="ADAL" clId="{3A59F78E-0E90-4D33-86BF-9F4CCB76A359}" dt="2021-02-05T12:40:10.447" v="4812" actId="1076"/>
          <ac:picMkLst>
            <pc:docMk/>
            <pc:sldMk cId="2082409945" sldId="2146846104"/>
            <ac:picMk id="27" creationId="{AB0E8961-F558-4B2B-BD02-581A5E719AE4}"/>
          </ac:picMkLst>
        </pc:picChg>
        <pc:picChg chg="add del">
          <ac:chgData name="Gysemans, Stijn" userId="47302815-14f0-4944-a346-9c5ba16265db" providerId="ADAL" clId="{3A59F78E-0E90-4D33-86BF-9F4CCB76A359}" dt="2021-02-05T11:47:35.952" v="2867" actId="478"/>
          <ac:picMkLst>
            <pc:docMk/>
            <pc:sldMk cId="2082409945" sldId="2146846104"/>
            <ac:picMk id="1026" creationId="{EC5E2035-0AFE-4A5D-8146-FC0F3D7E1BB7}"/>
          </ac:picMkLst>
        </pc:picChg>
        <pc:picChg chg="add mod">
          <ac:chgData name="Gysemans, Stijn" userId="47302815-14f0-4944-a346-9c5ba16265db" providerId="ADAL" clId="{3A59F78E-0E90-4D33-86BF-9F4CCB76A359}" dt="2021-02-05T12:40:10.447" v="4812" actId="1076"/>
          <ac:picMkLst>
            <pc:docMk/>
            <pc:sldMk cId="2082409945" sldId="2146846104"/>
            <ac:picMk id="1028" creationId="{D61C39EB-4D48-49DB-95DB-7E8C0520ED4D}"/>
          </ac:picMkLst>
        </pc:picChg>
        <pc:cxnChg chg="add mod">
          <ac:chgData name="Gysemans, Stijn" userId="47302815-14f0-4944-a346-9c5ba16265db" providerId="ADAL" clId="{3A59F78E-0E90-4D33-86BF-9F4CCB76A359}" dt="2021-02-05T11:46:41.793" v="2859" actId="14100"/>
          <ac:cxnSpMkLst>
            <pc:docMk/>
            <pc:sldMk cId="2082409945" sldId="2146846104"/>
            <ac:cxnSpMk id="6" creationId="{22E11E67-496C-40C4-AD5A-4F41DC1D8AB3}"/>
          </ac:cxnSpMkLst>
        </pc:cxnChg>
        <pc:cxnChg chg="add mod">
          <ac:chgData name="Gysemans, Stijn" userId="47302815-14f0-4944-a346-9c5ba16265db" providerId="ADAL" clId="{3A59F78E-0E90-4D33-86BF-9F4CCB76A359}" dt="2021-02-05T11:46:46.839" v="2861" actId="14100"/>
          <ac:cxnSpMkLst>
            <pc:docMk/>
            <pc:sldMk cId="2082409945" sldId="2146846104"/>
            <ac:cxnSpMk id="18" creationId="{FD5B2364-AC0F-4413-9CFD-39DB39B85A44}"/>
          </ac:cxnSpMkLst>
        </pc:cxnChg>
        <pc:cxnChg chg="add mod">
          <ac:chgData name="Gysemans, Stijn" userId="47302815-14f0-4944-a346-9c5ba16265db" providerId="ADAL" clId="{3A59F78E-0E90-4D33-86BF-9F4CCB76A359}" dt="2021-02-05T11:49:04.119" v="2982" actId="1076"/>
          <ac:cxnSpMkLst>
            <pc:docMk/>
            <pc:sldMk cId="2082409945" sldId="2146846104"/>
            <ac:cxnSpMk id="39" creationId="{240B362E-B44E-4D4D-B987-EC8FB50B4834}"/>
          </ac:cxnSpMkLst>
        </pc:cxnChg>
      </pc:sldChg>
      <pc:sldChg chg="addSp delSp modSp add mod">
        <pc:chgData name="Gysemans, Stijn" userId="47302815-14f0-4944-a346-9c5ba16265db" providerId="ADAL" clId="{3A59F78E-0E90-4D33-86BF-9F4CCB76A359}" dt="2021-02-05T13:39:55.016" v="5003" actId="20577"/>
        <pc:sldMkLst>
          <pc:docMk/>
          <pc:sldMk cId="3012242875" sldId="2146846105"/>
        </pc:sldMkLst>
        <pc:spChg chg="add del mod">
          <ac:chgData name="Gysemans, Stijn" userId="47302815-14f0-4944-a346-9c5ba16265db" providerId="ADAL" clId="{3A59F78E-0E90-4D33-86BF-9F4CCB76A359}" dt="2021-02-05T13:06:24.454" v="4997" actId="478"/>
          <ac:spMkLst>
            <pc:docMk/>
            <pc:sldMk cId="3012242875" sldId="2146846105"/>
            <ac:spMk id="2" creationId="{F4DFA206-96B0-49CF-86CC-1C5F15D27F69}"/>
          </ac:spMkLst>
        </pc:spChg>
        <pc:spChg chg="mod">
          <ac:chgData name="Gysemans, Stijn" userId="47302815-14f0-4944-a346-9c5ba16265db" providerId="ADAL" clId="{3A59F78E-0E90-4D33-86BF-9F4CCB76A359}" dt="2021-02-05T13:39:55.016" v="5003" actId="20577"/>
          <ac:spMkLst>
            <pc:docMk/>
            <pc:sldMk cId="3012242875" sldId="2146846105"/>
            <ac:spMk id="4" creationId="{D5C9DF6C-78C6-43F0-9B7F-87B36C1B517E}"/>
          </ac:spMkLst>
        </pc:spChg>
        <pc:spChg chg="add mod">
          <ac:chgData name="Gysemans, Stijn" userId="47302815-14f0-4944-a346-9c5ba16265db" providerId="ADAL" clId="{3A59F78E-0E90-4D33-86BF-9F4CCB76A359}" dt="2021-02-05T12:25:35.820" v="4435" actId="27636"/>
          <ac:spMkLst>
            <pc:docMk/>
            <pc:sldMk cId="3012242875" sldId="2146846105"/>
            <ac:spMk id="8" creationId="{CD3CCC4D-2C44-4AFC-9A35-6A74D7A33B75}"/>
          </ac:spMkLst>
        </pc:spChg>
        <pc:spChg chg="add del mod">
          <ac:chgData name="Gysemans, Stijn" userId="47302815-14f0-4944-a346-9c5ba16265db" providerId="ADAL" clId="{3A59F78E-0E90-4D33-86BF-9F4CCB76A359}" dt="2021-02-05T12:13:35.224" v="3884"/>
          <ac:spMkLst>
            <pc:docMk/>
            <pc:sldMk cId="3012242875" sldId="2146846105"/>
            <ac:spMk id="11" creationId="{5D6F3731-1B1F-4BB8-82F3-7786A02A8B29}"/>
          </ac:spMkLst>
        </pc:spChg>
      </pc:sldChg>
      <pc:sldChg chg="addSp delSp modSp add mod">
        <pc:chgData name="Gysemans, Stijn" userId="47302815-14f0-4944-a346-9c5ba16265db" providerId="ADAL" clId="{3A59F78E-0E90-4D33-86BF-9F4CCB76A359}" dt="2021-02-08T09:21:41.593" v="5148" actId="478"/>
        <pc:sldMkLst>
          <pc:docMk/>
          <pc:sldMk cId="3407953351" sldId="2146846106"/>
        </pc:sldMkLst>
        <pc:spChg chg="del">
          <ac:chgData name="Gysemans, Stijn" userId="47302815-14f0-4944-a346-9c5ba16265db" providerId="ADAL" clId="{3A59F78E-0E90-4D33-86BF-9F4CCB76A359}" dt="2021-02-05T11:59:11.489" v="3736" actId="478"/>
          <ac:spMkLst>
            <pc:docMk/>
            <pc:sldMk cId="3407953351" sldId="2146846106"/>
            <ac:spMk id="2" creationId="{F4DFA206-96B0-49CF-86CC-1C5F15D27F69}"/>
          </ac:spMkLst>
        </pc:spChg>
        <pc:spChg chg="add del mod">
          <ac:chgData name="Gysemans, Stijn" userId="47302815-14f0-4944-a346-9c5ba16265db" providerId="ADAL" clId="{3A59F78E-0E90-4D33-86BF-9F4CCB76A359}" dt="2021-02-05T13:40:37.409" v="5032" actId="478"/>
          <ac:spMkLst>
            <pc:docMk/>
            <pc:sldMk cId="3407953351" sldId="2146846106"/>
            <ac:spMk id="3" creationId="{C8B8E518-CBA5-4122-9691-F519916757D6}"/>
          </ac:spMkLst>
        </pc:spChg>
        <pc:spChg chg="mod">
          <ac:chgData name="Gysemans, Stijn" userId="47302815-14f0-4944-a346-9c5ba16265db" providerId="ADAL" clId="{3A59F78E-0E90-4D33-86BF-9F4CCB76A359}" dt="2021-02-05T13:40:34.825" v="5031" actId="20577"/>
          <ac:spMkLst>
            <pc:docMk/>
            <pc:sldMk cId="3407953351" sldId="2146846106"/>
            <ac:spMk id="4" creationId="{D5C9DF6C-78C6-43F0-9B7F-87B36C1B517E}"/>
          </ac:spMkLst>
        </pc:spChg>
        <pc:spChg chg="mod">
          <ac:chgData name="Gysemans, Stijn" userId="47302815-14f0-4944-a346-9c5ba16265db" providerId="ADAL" clId="{3A59F78E-0E90-4D33-86BF-9F4CCB76A359}" dt="2021-02-05T13:41:52.004" v="5121" actId="20577"/>
          <ac:spMkLst>
            <pc:docMk/>
            <pc:sldMk cId="3407953351" sldId="2146846106"/>
            <ac:spMk id="8" creationId="{CD3CCC4D-2C44-4AFC-9A35-6A74D7A33B75}"/>
          </ac:spMkLst>
        </pc:spChg>
        <pc:spChg chg="add del mod">
          <ac:chgData name="Gysemans, Stijn" userId="47302815-14f0-4944-a346-9c5ba16265db" providerId="ADAL" clId="{3A59F78E-0E90-4D33-86BF-9F4CCB76A359}" dt="2021-02-08T09:21:41.593" v="5148" actId="478"/>
          <ac:spMkLst>
            <pc:docMk/>
            <pc:sldMk cId="3407953351" sldId="2146846106"/>
            <ac:spMk id="11" creationId="{8DD1DC00-D7A4-4AE7-9104-F5A2D682048B}"/>
          </ac:spMkLst>
        </pc:spChg>
        <pc:picChg chg="add mod">
          <ac:chgData name="Gysemans, Stijn" userId="47302815-14f0-4944-a346-9c5ba16265db" providerId="ADAL" clId="{3A59F78E-0E90-4D33-86BF-9F4CCB76A359}" dt="2021-02-05T13:41:58.312" v="5123" actId="1076"/>
          <ac:picMkLst>
            <pc:docMk/>
            <pc:sldMk cId="3407953351" sldId="2146846106"/>
            <ac:picMk id="2050" creationId="{7884523B-9657-43DF-8271-510AA3C796F3}"/>
          </ac:picMkLst>
        </pc:picChg>
      </pc:sldChg>
      <pc:sldChg chg="delSp modSp add mod">
        <pc:chgData name="Gysemans, Stijn" userId="47302815-14f0-4944-a346-9c5ba16265db" providerId="ADAL" clId="{3A59F78E-0E90-4D33-86BF-9F4CCB76A359}" dt="2021-02-05T13:39:59.521" v="5009" actId="20577"/>
        <pc:sldMkLst>
          <pc:docMk/>
          <pc:sldMk cId="2703381402" sldId="2146846107"/>
        </pc:sldMkLst>
        <pc:spChg chg="del">
          <ac:chgData name="Gysemans, Stijn" userId="47302815-14f0-4944-a346-9c5ba16265db" providerId="ADAL" clId="{3A59F78E-0E90-4D33-86BF-9F4CCB76A359}" dt="2021-02-05T12:22:29.895" v="4384" actId="478"/>
          <ac:spMkLst>
            <pc:docMk/>
            <pc:sldMk cId="2703381402" sldId="2146846107"/>
            <ac:spMk id="2" creationId="{F4DFA206-96B0-49CF-86CC-1C5F15D27F69}"/>
          </ac:spMkLst>
        </pc:spChg>
        <pc:spChg chg="mod">
          <ac:chgData name="Gysemans, Stijn" userId="47302815-14f0-4944-a346-9c5ba16265db" providerId="ADAL" clId="{3A59F78E-0E90-4D33-86BF-9F4CCB76A359}" dt="2021-02-05T13:39:59.521" v="5009" actId="20577"/>
          <ac:spMkLst>
            <pc:docMk/>
            <pc:sldMk cId="2703381402" sldId="2146846107"/>
            <ac:spMk id="4" creationId="{D5C9DF6C-78C6-43F0-9B7F-87B36C1B517E}"/>
          </ac:spMkLst>
        </pc:spChg>
        <pc:spChg chg="mod">
          <ac:chgData name="Gysemans, Stijn" userId="47302815-14f0-4944-a346-9c5ba16265db" providerId="ADAL" clId="{3A59F78E-0E90-4D33-86BF-9F4CCB76A359}" dt="2021-02-05T12:24:22.683" v="4430"/>
          <ac:spMkLst>
            <pc:docMk/>
            <pc:sldMk cId="2703381402" sldId="2146846107"/>
            <ac:spMk id="8" creationId="{CD3CCC4D-2C44-4AFC-9A35-6A74D7A33B75}"/>
          </ac:spMkLst>
        </pc:spChg>
        <pc:spChg chg="del">
          <ac:chgData name="Gysemans, Stijn" userId="47302815-14f0-4944-a346-9c5ba16265db" providerId="ADAL" clId="{3A59F78E-0E90-4D33-86BF-9F4CCB76A359}" dt="2021-02-05T12:22:32.665" v="4385" actId="478"/>
          <ac:spMkLst>
            <pc:docMk/>
            <pc:sldMk cId="2703381402" sldId="2146846107"/>
            <ac:spMk id="11" creationId="{5D6F3731-1B1F-4BB8-82F3-7786A02A8B29}"/>
          </ac:spMkLst>
        </pc:spChg>
      </pc:sldChg>
      <pc:sldChg chg="addSp delSp modSp add mod">
        <pc:chgData name="Gysemans, Stijn" userId="47302815-14f0-4944-a346-9c5ba16265db" providerId="ADAL" clId="{3A59F78E-0E90-4D33-86BF-9F4CCB76A359}" dt="2021-02-05T12:29:17.796" v="4700" actId="1076"/>
        <pc:sldMkLst>
          <pc:docMk/>
          <pc:sldMk cId="1323793653" sldId="2146846108"/>
        </pc:sldMkLst>
        <pc:spChg chg="add mod">
          <ac:chgData name="Gysemans, Stijn" userId="47302815-14f0-4944-a346-9c5ba16265db" providerId="ADAL" clId="{3A59F78E-0E90-4D33-86BF-9F4CCB76A359}" dt="2021-02-05T12:29:06.887" v="4693" actId="1076"/>
          <ac:spMkLst>
            <pc:docMk/>
            <pc:sldMk cId="1323793653" sldId="2146846108"/>
            <ac:spMk id="3" creationId="{12A19D22-6BDD-4545-9C41-F67A30001E4E}"/>
          </ac:spMkLst>
        </pc:spChg>
        <pc:spChg chg="mod">
          <ac:chgData name="Gysemans, Stijn" userId="47302815-14f0-4944-a346-9c5ba16265db" providerId="ADAL" clId="{3A59F78E-0E90-4D33-86BF-9F4CCB76A359}" dt="2021-02-05T12:26:31.171" v="4462" actId="20577"/>
          <ac:spMkLst>
            <pc:docMk/>
            <pc:sldMk cId="1323793653" sldId="2146846108"/>
            <ac:spMk id="4" creationId="{D5C9DF6C-78C6-43F0-9B7F-87B36C1B517E}"/>
          </ac:spMkLst>
        </pc:spChg>
        <pc:spChg chg="del">
          <ac:chgData name="Gysemans, Stijn" userId="47302815-14f0-4944-a346-9c5ba16265db" providerId="ADAL" clId="{3A59F78E-0E90-4D33-86BF-9F4CCB76A359}" dt="2021-02-05T12:26:34.740" v="4463" actId="478"/>
          <ac:spMkLst>
            <pc:docMk/>
            <pc:sldMk cId="1323793653" sldId="2146846108"/>
            <ac:spMk id="13" creationId="{2E419015-1798-48FB-8F98-775ED55D877B}"/>
          </ac:spMkLst>
        </pc:spChg>
        <pc:spChg chg="del">
          <ac:chgData name="Gysemans, Stijn" userId="47302815-14f0-4944-a346-9c5ba16265db" providerId="ADAL" clId="{3A59F78E-0E90-4D33-86BF-9F4CCB76A359}" dt="2021-02-05T12:26:34.740" v="4463" actId="478"/>
          <ac:spMkLst>
            <pc:docMk/>
            <pc:sldMk cId="1323793653" sldId="2146846108"/>
            <ac:spMk id="14" creationId="{F4B55A5D-ABDA-44AF-AE17-B81B8ABD42C8}"/>
          </ac:spMkLst>
        </pc:spChg>
        <pc:spChg chg="del">
          <ac:chgData name="Gysemans, Stijn" userId="47302815-14f0-4944-a346-9c5ba16265db" providerId="ADAL" clId="{3A59F78E-0E90-4D33-86BF-9F4CCB76A359}" dt="2021-02-05T12:26:34.740" v="4463" actId="478"/>
          <ac:spMkLst>
            <pc:docMk/>
            <pc:sldMk cId="1323793653" sldId="2146846108"/>
            <ac:spMk id="15" creationId="{C47BE1A6-F8DA-4500-8A21-E6614AED8239}"/>
          </ac:spMkLst>
        </pc:spChg>
        <pc:spChg chg="del">
          <ac:chgData name="Gysemans, Stijn" userId="47302815-14f0-4944-a346-9c5ba16265db" providerId="ADAL" clId="{3A59F78E-0E90-4D33-86BF-9F4CCB76A359}" dt="2021-02-05T12:26:34.740" v="4463" actId="478"/>
          <ac:spMkLst>
            <pc:docMk/>
            <pc:sldMk cId="1323793653" sldId="2146846108"/>
            <ac:spMk id="23" creationId="{75D69F7E-54A3-4DFD-B15C-B54C7A9F7303}"/>
          </ac:spMkLst>
        </pc:spChg>
        <pc:spChg chg="del">
          <ac:chgData name="Gysemans, Stijn" userId="47302815-14f0-4944-a346-9c5ba16265db" providerId="ADAL" clId="{3A59F78E-0E90-4D33-86BF-9F4CCB76A359}" dt="2021-02-05T12:26:34.740" v="4463" actId="478"/>
          <ac:spMkLst>
            <pc:docMk/>
            <pc:sldMk cId="1323793653" sldId="2146846108"/>
            <ac:spMk id="24" creationId="{FBC28E13-4B44-47A1-BA57-6D8D2AD89162}"/>
          </ac:spMkLst>
        </pc:spChg>
        <pc:spChg chg="add mod">
          <ac:chgData name="Gysemans, Stijn" userId="47302815-14f0-4944-a346-9c5ba16265db" providerId="ADAL" clId="{3A59F78E-0E90-4D33-86BF-9F4CCB76A359}" dt="2021-02-05T12:28:44.436" v="4681" actId="20577"/>
          <ac:spMkLst>
            <pc:docMk/>
            <pc:sldMk cId="1323793653" sldId="2146846108"/>
            <ac:spMk id="25" creationId="{D311D0FD-0A42-4638-A3F3-874AE6913864}"/>
          </ac:spMkLst>
        </pc:spChg>
        <pc:spChg chg="del">
          <ac:chgData name="Gysemans, Stijn" userId="47302815-14f0-4944-a346-9c5ba16265db" providerId="ADAL" clId="{3A59F78E-0E90-4D33-86BF-9F4CCB76A359}" dt="2021-02-05T12:26:34.740" v="4463" actId="478"/>
          <ac:spMkLst>
            <pc:docMk/>
            <pc:sldMk cId="1323793653" sldId="2146846108"/>
            <ac:spMk id="28" creationId="{63A20ACB-8078-4831-96D8-147895F4DEE9}"/>
          </ac:spMkLst>
        </pc:spChg>
        <pc:spChg chg="del">
          <ac:chgData name="Gysemans, Stijn" userId="47302815-14f0-4944-a346-9c5ba16265db" providerId="ADAL" clId="{3A59F78E-0E90-4D33-86BF-9F4CCB76A359}" dt="2021-02-05T12:26:34.740" v="4463" actId="478"/>
          <ac:spMkLst>
            <pc:docMk/>
            <pc:sldMk cId="1323793653" sldId="2146846108"/>
            <ac:spMk id="29" creationId="{40308928-8512-49AC-AC6A-C5EB4E2285D8}"/>
          </ac:spMkLst>
        </pc:spChg>
        <pc:spChg chg="del">
          <ac:chgData name="Gysemans, Stijn" userId="47302815-14f0-4944-a346-9c5ba16265db" providerId="ADAL" clId="{3A59F78E-0E90-4D33-86BF-9F4CCB76A359}" dt="2021-02-05T12:26:34.740" v="4463" actId="478"/>
          <ac:spMkLst>
            <pc:docMk/>
            <pc:sldMk cId="1323793653" sldId="2146846108"/>
            <ac:spMk id="30" creationId="{B7922C3E-0659-490A-BE61-95B63935EC4D}"/>
          </ac:spMkLst>
        </pc:spChg>
        <pc:spChg chg="add mod">
          <ac:chgData name="Gysemans, Stijn" userId="47302815-14f0-4944-a346-9c5ba16265db" providerId="ADAL" clId="{3A59F78E-0E90-4D33-86BF-9F4CCB76A359}" dt="2021-02-05T12:29:10.435" v="4696" actId="20577"/>
          <ac:spMkLst>
            <pc:docMk/>
            <pc:sldMk cId="1323793653" sldId="2146846108"/>
            <ac:spMk id="31" creationId="{3A855018-84F0-4BE1-AECE-38DBD9456110}"/>
          </ac:spMkLst>
        </pc:spChg>
        <pc:spChg chg="add mod">
          <ac:chgData name="Gysemans, Stijn" userId="47302815-14f0-4944-a346-9c5ba16265db" providerId="ADAL" clId="{3A59F78E-0E90-4D33-86BF-9F4CCB76A359}" dt="2021-02-05T12:29:17.796" v="4700" actId="1076"/>
          <ac:spMkLst>
            <pc:docMk/>
            <pc:sldMk cId="1323793653" sldId="2146846108"/>
            <ac:spMk id="32" creationId="{96F4C0DE-46CF-4AFB-B2E5-AE9AEBEC8908}"/>
          </ac:spMkLst>
        </pc:spChg>
        <pc:spChg chg="del">
          <ac:chgData name="Gysemans, Stijn" userId="47302815-14f0-4944-a346-9c5ba16265db" providerId="ADAL" clId="{3A59F78E-0E90-4D33-86BF-9F4CCB76A359}" dt="2021-02-05T12:26:34.740" v="4463" actId="478"/>
          <ac:spMkLst>
            <pc:docMk/>
            <pc:sldMk cId="1323793653" sldId="2146846108"/>
            <ac:spMk id="38" creationId="{5584B87A-4718-4169-A537-6325DB5BA3A5}"/>
          </ac:spMkLst>
        </pc:spChg>
        <pc:picChg chg="del">
          <ac:chgData name="Gysemans, Stijn" userId="47302815-14f0-4944-a346-9c5ba16265db" providerId="ADAL" clId="{3A59F78E-0E90-4D33-86BF-9F4CCB76A359}" dt="2021-02-05T12:26:34.740" v="4463" actId="478"/>
          <ac:picMkLst>
            <pc:docMk/>
            <pc:sldMk cId="1323793653" sldId="2146846108"/>
            <ac:picMk id="9" creationId="{01292EE8-4349-4552-88B1-00300A248BDB}"/>
          </ac:picMkLst>
        </pc:picChg>
        <pc:picChg chg="del">
          <ac:chgData name="Gysemans, Stijn" userId="47302815-14f0-4944-a346-9c5ba16265db" providerId="ADAL" clId="{3A59F78E-0E90-4D33-86BF-9F4CCB76A359}" dt="2021-02-05T12:26:34.740" v="4463" actId="478"/>
          <ac:picMkLst>
            <pc:docMk/>
            <pc:sldMk cId="1323793653" sldId="2146846108"/>
            <ac:picMk id="10" creationId="{469D8C26-CD62-4CAF-BF59-12A51CFDCC80}"/>
          </ac:picMkLst>
        </pc:picChg>
        <pc:picChg chg="del">
          <ac:chgData name="Gysemans, Stijn" userId="47302815-14f0-4944-a346-9c5ba16265db" providerId="ADAL" clId="{3A59F78E-0E90-4D33-86BF-9F4CCB76A359}" dt="2021-02-05T12:26:34.740" v="4463" actId="478"/>
          <ac:picMkLst>
            <pc:docMk/>
            <pc:sldMk cId="1323793653" sldId="2146846108"/>
            <ac:picMk id="27" creationId="{AB0E8961-F558-4B2B-BD02-581A5E719AE4}"/>
          </ac:picMkLst>
        </pc:picChg>
        <pc:picChg chg="del mod">
          <ac:chgData name="Gysemans, Stijn" userId="47302815-14f0-4944-a346-9c5ba16265db" providerId="ADAL" clId="{3A59F78E-0E90-4D33-86BF-9F4CCB76A359}" dt="2021-02-05T12:26:36.629" v="4465" actId="478"/>
          <ac:picMkLst>
            <pc:docMk/>
            <pc:sldMk cId="1323793653" sldId="2146846108"/>
            <ac:picMk id="1028" creationId="{D61C39EB-4D48-49DB-95DB-7E8C0520ED4D}"/>
          </ac:picMkLst>
        </pc:picChg>
        <pc:cxnChg chg="del">
          <ac:chgData name="Gysemans, Stijn" userId="47302815-14f0-4944-a346-9c5ba16265db" providerId="ADAL" clId="{3A59F78E-0E90-4D33-86BF-9F4CCB76A359}" dt="2021-02-05T12:26:34.740" v="4463" actId="478"/>
          <ac:cxnSpMkLst>
            <pc:docMk/>
            <pc:sldMk cId="1323793653" sldId="2146846108"/>
            <ac:cxnSpMk id="6" creationId="{22E11E67-496C-40C4-AD5A-4F41DC1D8AB3}"/>
          </ac:cxnSpMkLst>
        </pc:cxnChg>
        <pc:cxnChg chg="del">
          <ac:chgData name="Gysemans, Stijn" userId="47302815-14f0-4944-a346-9c5ba16265db" providerId="ADAL" clId="{3A59F78E-0E90-4D33-86BF-9F4CCB76A359}" dt="2021-02-05T12:26:34.740" v="4463" actId="478"/>
          <ac:cxnSpMkLst>
            <pc:docMk/>
            <pc:sldMk cId="1323793653" sldId="2146846108"/>
            <ac:cxnSpMk id="18" creationId="{FD5B2364-AC0F-4413-9CFD-39DB39B85A44}"/>
          </ac:cxnSpMkLst>
        </pc:cxnChg>
        <pc:cxnChg chg="del">
          <ac:chgData name="Gysemans, Stijn" userId="47302815-14f0-4944-a346-9c5ba16265db" providerId="ADAL" clId="{3A59F78E-0E90-4D33-86BF-9F4CCB76A359}" dt="2021-02-05T12:26:34.740" v="4463" actId="478"/>
          <ac:cxnSpMkLst>
            <pc:docMk/>
            <pc:sldMk cId="1323793653" sldId="2146846108"/>
            <ac:cxnSpMk id="39" creationId="{240B362E-B44E-4D4D-B987-EC8FB50B4834}"/>
          </ac:cxnSpMkLst>
        </pc:cxnChg>
      </pc:sldChg>
      <pc:sldChg chg="addSp modSp new mod">
        <pc:chgData name="Gysemans, Stijn" userId="47302815-14f0-4944-a346-9c5ba16265db" providerId="ADAL" clId="{3A59F78E-0E90-4D33-86BF-9F4CCB76A359}" dt="2021-02-05T12:44:07.818" v="4942" actId="20577"/>
        <pc:sldMkLst>
          <pc:docMk/>
          <pc:sldMk cId="3645289718" sldId="2146846109"/>
        </pc:sldMkLst>
        <pc:spChg chg="mod">
          <ac:chgData name="Gysemans, Stijn" userId="47302815-14f0-4944-a346-9c5ba16265db" providerId="ADAL" clId="{3A59F78E-0E90-4D33-86BF-9F4CCB76A359}" dt="2021-02-05T12:44:07.818" v="4942" actId="20577"/>
          <ac:spMkLst>
            <pc:docMk/>
            <pc:sldMk cId="3645289718" sldId="2146846109"/>
            <ac:spMk id="2" creationId="{E39C104F-EBA4-4E92-B9D3-5B9FE314331F}"/>
          </ac:spMkLst>
        </pc:spChg>
        <pc:picChg chg="add mod">
          <ac:chgData name="Gysemans, Stijn" userId="47302815-14f0-4944-a346-9c5ba16265db" providerId="ADAL" clId="{3A59F78E-0E90-4D33-86BF-9F4CCB76A359}" dt="2021-02-05T12:40:14.761" v="4814" actId="1076"/>
          <ac:picMkLst>
            <pc:docMk/>
            <pc:sldMk cId="3645289718" sldId="2146846109"/>
            <ac:picMk id="4" creationId="{D9DE74C4-598A-46BF-9531-77E40C30DF87}"/>
          </ac:picMkLst>
        </pc:picChg>
        <pc:picChg chg="add mod">
          <ac:chgData name="Gysemans, Stijn" userId="47302815-14f0-4944-a346-9c5ba16265db" providerId="ADAL" clId="{3A59F78E-0E90-4D33-86BF-9F4CCB76A359}" dt="2021-02-05T12:40:14.761" v="4814" actId="1076"/>
          <ac:picMkLst>
            <pc:docMk/>
            <pc:sldMk cId="3645289718" sldId="2146846109"/>
            <ac:picMk id="5" creationId="{4BE19251-9A80-469F-ACC2-90047DE2ECB8}"/>
          </ac:picMkLst>
        </pc:picChg>
      </pc:sldChg>
      <pc:sldMasterChg chg="delSldLayout">
        <pc:chgData name="Gysemans, Stijn" userId="47302815-14f0-4944-a346-9c5ba16265db" providerId="ADAL" clId="{3A59F78E-0E90-4D33-86BF-9F4CCB76A359}" dt="2021-02-05T11:32:26.896" v="1985" actId="47"/>
        <pc:sldMasterMkLst>
          <pc:docMk/>
          <pc:sldMasterMk cId="1031607376" sldId="2147483694"/>
        </pc:sldMasterMkLst>
        <pc:sldLayoutChg chg="del">
          <pc:chgData name="Gysemans, Stijn" userId="47302815-14f0-4944-a346-9c5ba16265db" providerId="ADAL" clId="{3A59F78E-0E90-4D33-86BF-9F4CCB76A359}" dt="2021-02-05T11:32:26.896" v="1985" actId="47"/>
          <pc:sldLayoutMkLst>
            <pc:docMk/>
            <pc:sldMasterMk cId="1031607376" sldId="2147483694"/>
            <pc:sldLayoutMk cId="386486468" sldId="2147483707"/>
          </pc:sldLayoutMkLst>
        </pc:sldLayoutChg>
      </pc:sldMasterChg>
    </pc:docChg>
  </pc:docChgLst>
  <pc:docChgLst>
    <pc:chgData name="Michaël van Custem - BEEODIVERSITY" userId="S::michael.vancutsem@beeodiversity.com::c7d9d184-face-4969-a381-856634dfe2de" providerId="AD" clId="Web-{1642E720-3C10-4872-BF47-C0943ECACB9F}"/>
    <pc:docChg chg="modSld">
      <pc:chgData name="Michaël van Custem - BEEODIVERSITY" userId="S::michael.vancutsem@beeodiversity.com::c7d9d184-face-4969-a381-856634dfe2de" providerId="AD" clId="Web-{1642E720-3C10-4872-BF47-C0943ECACB9F}" dt="2021-02-05T16:59:08.304" v="47" actId="20577"/>
      <pc:docMkLst>
        <pc:docMk/>
      </pc:docMkLst>
      <pc:sldChg chg="addSp delSp modSp">
        <pc:chgData name="Michaël van Custem - BEEODIVERSITY" userId="S::michael.vancutsem@beeodiversity.com::c7d9d184-face-4969-a381-856634dfe2de" providerId="AD" clId="Web-{1642E720-3C10-4872-BF47-C0943ECACB9F}" dt="2021-02-05T16:59:08.304" v="47" actId="20577"/>
        <pc:sldMkLst>
          <pc:docMk/>
          <pc:sldMk cId="3407953351" sldId="2146846106"/>
        </pc:sldMkLst>
        <pc:spChg chg="add del mod">
          <ac:chgData name="Michaël van Custem - BEEODIVERSITY" userId="S::michael.vancutsem@beeodiversity.com::c7d9d184-face-4969-a381-856634dfe2de" providerId="AD" clId="Web-{1642E720-3C10-4872-BF47-C0943ECACB9F}" dt="2021-02-05T16:59:08.304" v="47" actId="20577"/>
          <ac:spMkLst>
            <pc:docMk/>
            <pc:sldMk cId="3407953351" sldId="2146846106"/>
            <ac:spMk id="8" creationId="{CD3CCC4D-2C44-4AFC-9A35-6A74D7A33B75}"/>
          </ac:spMkLst>
        </pc:spChg>
        <pc:graphicFrameChg chg="add del">
          <ac:chgData name="Michaël van Custem - BEEODIVERSITY" userId="S::michael.vancutsem@beeodiversity.com::c7d9d184-face-4969-a381-856634dfe2de" providerId="AD" clId="Web-{1642E720-3C10-4872-BF47-C0943ECACB9F}" dt="2021-02-05T16:31:01.844" v="3"/>
          <ac:graphicFrameMkLst>
            <pc:docMk/>
            <pc:sldMk cId="3407953351" sldId="2146846106"/>
            <ac:graphicFrameMk id="2052" creationId="{24D722D0-EF3A-4EED-83F4-1FE0C0721050}"/>
          </ac:graphicFrameMkLst>
        </pc:graphicFrameChg>
        <pc:picChg chg="add mod">
          <ac:chgData name="Michaël van Custem - BEEODIVERSITY" userId="S::michael.vancutsem@beeodiversity.com::c7d9d184-face-4969-a381-856634dfe2de" providerId="AD" clId="Web-{1642E720-3C10-4872-BF47-C0943ECACB9F}" dt="2021-02-05T16:32:49.752" v="18" actId="1076"/>
          <ac:picMkLst>
            <pc:docMk/>
            <pc:sldMk cId="3407953351" sldId="2146846106"/>
            <ac:picMk id="2" creationId="{727F331B-25ED-4D27-B719-8349379B0D93}"/>
          </ac:picMkLst>
        </pc:picChg>
        <pc:picChg chg="add mod">
          <ac:chgData name="Michaël van Custem - BEEODIVERSITY" userId="S::michael.vancutsem@beeodiversity.com::c7d9d184-face-4969-a381-856634dfe2de" providerId="AD" clId="Web-{1642E720-3C10-4872-BF47-C0943ECACB9F}" dt="2021-02-05T16:32:39.376" v="14" actId="14100"/>
          <ac:picMkLst>
            <pc:docMk/>
            <pc:sldMk cId="3407953351" sldId="2146846106"/>
            <ac:picMk id="13" creationId="{473BDDD6-42E5-46E9-BDE7-A4D31A8D9F50}"/>
          </ac:picMkLst>
        </pc:picChg>
        <pc:picChg chg="mod">
          <ac:chgData name="Michaël van Custem - BEEODIVERSITY" userId="S::michael.vancutsem@beeodiversity.com::c7d9d184-face-4969-a381-856634dfe2de" providerId="AD" clId="Web-{1642E720-3C10-4872-BF47-C0943ECACB9F}" dt="2021-02-05T16:32:24.408" v="11" actId="1076"/>
          <ac:picMkLst>
            <pc:docMk/>
            <pc:sldMk cId="3407953351" sldId="2146846106"/>
            <ac:picMk id="2050" creationId="{7884523B-9657-43DF-8271-510AA3C796F3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AE946B-3C2B-4205-BD8B-38951A4F49F7}" type="datetimeFigureOut">
              <a:rPr lang="en-US" smtClean="0"/>
              <a:t>2/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2F6BE1-905D-4BF8-ADA9-38425DB161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581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27F148-CD78-4F5C-B40C-0E5D7F25C8C4}" type="slidenum">
              <a:rPr kumimoji="0" lang="fr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6101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64764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21122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1032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1262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58110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27F148-CD78-4F5C-B40C-0E5D7F25C8C4}" type="slidenum">
              <a:rPr kumimoji="0" lang="fr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fr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50929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037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29086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55733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8628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31200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49904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12903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9347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B13E3F4-3006-A140-90D3-10141860D4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9588F68-3DAC-41F1-BB37-F2A007F0134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82584" y="771832"/>
            <a:ext cx="3192289" cy="335190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7938A56-802E-944C-BC49-BE957797770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81000" y="586257"/>
            <a:ext cx="2654300" cy="2794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0A903985-CCBC-F94C-B2B9-664E466AAE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1" y="2628107"/>
            <a:ext cx="6957348" cy="3102388"/>
          </a:xfrm>
        </p:spPr>
        <p:txBody>
          <a:bodyPr/>
          <a:lstStyle/>
          <a:p>
            <a:pPr>
              <a:lnSpc>
                <a:spcPct val="68000"/>
              </a:lnSpc>
            </a:pPr>
            <a:r>
              <a:rPr lang="en-US" sz="7200" b="1" spc="-300">
                <a:latin typeface="Graphik Black" panose="020B0503030202060203" pitchFamily="34" charset="77"/>
              </a:rPr>
              <a:t>GAINING GROUND </a:t>
            </a:r>
            <a:br>
              <a:rPr lang="en-US" sz="7200" b="1" spc="-300">
                <a:latin typeface="Graphik Black" panose="020B0503030202060203" pitchFamily="34" charset="77"/>
              </a:rPr>
            </a:br>
            <a:r>
              <a:rPr lang="en-US" sz="7200" b="1" spc="-300">
                <a:latin typeface="Graphik Black" panose="020B0503030202060203" pitchFamily="34" charset="77"/>
              </a:rPr>
              <a:t>ON THE CYBER</a:t>
            </a:r>
            <a:br>
              <a:rPr lang="en-US" sz="7200" b="1" spc="-300">
                <a:latin typeface="Graphik Black" panose="020B0503030202060203" pitchFamily="34" charset="77"/>
              </a:rPr>
            </a:br>
            <a:r>
              <a:rPr lang="en-US" sz="7200" b="1" spc="-300">
                <a:latin typeface="Graphik Black" panose="020B0503030202060203" pitchFamily="34" charset="77"/>
              </a:rPr>
              <a:t>A</a:t>
            </a:r>
            <a:r>
              <a:rPr lang="en-US" sz="7200" b="1" spc="100">
                <a:latin typeface="Graphik Black" panose="020B0503030202060203" pitchFamily="34" charset="77"/>
              </a:rPr>
              <a:t>T</a:t>
            </a:r>
            <a:r>
              <a:rPr lang="en-US" sz="7200" b="1" spc="-600">
                <a:latin typeface="Graphik Black" panose="020B0503030202060203" pitchFamily="34" charset="77"/>
              </a:rPr>
              <a:t>T</a:t>
            </a:r>
            <a:r>
              <a:rPr lang="en-US" sz="7200" b="1" spc="-300">
                <a:latin typeface="Graphik Black" panose="020B0503030202060203" pitchFamily="34" charset="77"/>
              </a:rPr>
              <a:t>ACHER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98FF64D-4445-124A-807D-0DD6E3AE206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81000" y="5590923"/>
            <a:ext cx="5715000" cy="473113"/>
          </a:xfrm>
        </p:spPr>
        <p:txBody>
          <a:bodyPr>
            <a:normAutofit fontScale="92500" lnSpcReduction="10000"/>
          </a:bodyPr>
          <a:lstStyle/>
          <a:p>
            <a:pPr lvl="1"/>
            <a:r>
              <a:rPr lang="en-US" b="1">
                <a:latin typeface="Graphik" panose="020B0503030202060203" pitchFamily="34" charset="77"/>
              </a:rPr>
              <a:t>2018 State of cyber Resilience</a:t>
            </a:r>
          </a:p>
        </p:txBody>
      </p:sp>
    </p:spTree>
    <p:extLst>
      <p:ext uri="{BB962C8B-B14F-4D97-AF65-F5344CB8AC3E}">
        <p14:creationId xmlns:p14="http://schemas.microsoft.com/office/powerpoint/2010/main" val="1443058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8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5028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8 Accenture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4229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8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2564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8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26189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8 Accenture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8287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571500"/>
            <a:ext cx="8572500" cy="29718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8000" spc="-150" baseline="0"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0999" y="3543300"/>
            <a:ext cx="8572501" cy="3162300"/>
          </a:xfrm>
        </p:spPr>
        <p:txBody>
          <a:bodyPr>
            <a:noAutofit/>
          </a:bodyPr>
          <a:lstStyle>
            <a:lvl1pPr marL="0" indent="0">
              <a:lnSpc>
                <a:spcPct val="65000"/>
              </a:lnSpc>
              <a:spcAft>
                <a:spcPts val="600"/>
              </a:spcAft>
              <a:defRPr sz="4400" b="1" spc="-150" baseline="0"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defRPr sz="4400" b="0" cap="none" baseline="0"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defRPr sz="2800" b="0" cap="none" baseline="0"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None/>
              <a:defRPr sz="2000" b="0" cap="none" baseline="0"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None/>
              <a:defRPr sz="1200" b="0" cap="none" baseline="0">
                <a:latin typeface="+mn-lt"/>
              </a:defRPr>
            </a:lvl5pPr>
            <a:lvl7pPr>
              <a:defRPr b="1"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 err="1"/>
              <a:t>fIrst</a:t>
            </a:r>
            <a:r>
              <a:rPr lang="en-US"/>
              <a:t>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40650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65320" y="1163369"/>
            <a:ext cx="11258182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999">
                <a:solidFill>
                  <a:schemeClr val="accent1"/>
                </a:solidFill>
              </a:defRPr>
            </a:lvl1pPr>
            <a:lvl2pPr>
              <a:defRPr sz="3497"/>
            </a:lvl2pPr>
            <a:lvl3pPr>
              <a:defRPr sz="3197"/>
            </a:lvl3pPr>
            <a:lvl4pPr>
              <a:defRPr sz="2897"/>
            </a:lvl4pPr>
            <a:lvl5pPr>
              <a:defRPr sz="269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82376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E13B80-FC03-45CC-B1B6-CB6DA5B295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BD4D43-2820-48C7-849A-FA7EC8C104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388CEF-CED0-40AD-A7A9-27775986C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B1EE3-7201-45A4-B4D0-1F08E4FD2D4E}" type="datetimeFigureOut">
              <a:rPr lang="fr-BE" smtClean="0"/>
              <a:t>08-02-21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101D0-B86F-47DA-B367-737DAFB473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4AAB28-7347-47D6-A5C2-6BF9C7200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7C645-4840-4E67-A762-6E3BD409A639}" type="slidenum">
              <a:rPr lang="fr-BE" smtClean="0"/>
              <a:t>‹#›</a:t>
            </a:fld>
            <a:endParaRPr lang="fr-B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4D4652-3C7B-4745-8359-4697CA2A2BB2}"/>
              </a:ext>
            </a:extLst>
          </p:cNvPr>
          <p:cNvSpPr/>
          <p:nvPr userDrawn="1"/>
        </p:nvSpPr>
        <p:spPr>
          <a:xfrm>
            <a:off x="-20320" y="0"/>
            <a:ext cx="4602480" cy="30073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FC419C9-38A1-4D72-AA2B-21B51B4A63DE}"/>
              </a:ext>
            </a:extLst>
          </p:cNvPr>
          <p:cNvSpPr/>
          <p:nvPr userDrawn="1"/>
        </p:nvSpPr>
        <p:spPr>
          <a:xfrm>
            <a:off x="-20320" y="152400"/>
            <a:ext cx="264160" cy="6705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A69A846-3EF4-4300-AFBE-F3C2B308CA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9120" y="6248316"/>
            <a:ext cx="1171830" cy="39459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3C5D3B3-0937-4E0B-84C2-65A43FAF0045}"/>
              </a:ext>
            </a:extLst>
          </p:cNvPr>
          <p:cNvSpPr/>
          <p:nvPr userDrawn="1"/>
        </p:nvSpPr>
        <p:spPr>
          <a:xfrm>
            <a:off x="3850640" y="-8432"/>
            <a:ext cx="8341360" cy="7704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611D0F-4D2D-4CBF-80AC-A4590E073029}"/>
              </a:ext>
            </a:extLst>
          </p:cNvPr>
          <p:cNvSpPr/>
          <p:nvPr userDrawn="1"/>
        </p:nvSpPr>
        <p:spPr>
          <a:xfrm>
            <a:off x="-12929" y="2877978"/>
            <a:ext cx="724129" cy="31265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5EBAC9-7D8A-4098-BDED-49C39D2CD9E8}"/>
              </a:ext>
            </a:extLst>
          </p:cNvPr>
          <p:cNvSpPr/>
          <p:nvPr userDrawn="1"/>
        </p:nvSpPr>
        <p:spPr>
          <a:xfrm>
            <a:off x="-20320" y="6761106"/>
            <a:ext cx="12212320" cy="1070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E051E4-F47E-4CDD-8D27-BE19FEE1043D}"/>
              </a:ext>
            </a:extLst>
          </p:cNvPr>
          <p:cNvSpPr/>
          <p:nvPr userDrawn="1"/>
        </p:nvSpPr>
        <p:spPr>
          <a:xfrm>
            <a:off x="10530840" y="5275048"/>
            <a:ext cx="1696720" cy="635635"/>
          </a:xfrm>
          <a:prstGeom prst="rect">
            <a:avLst/>
          </a:prstGeom>
          <a:solidFill>
            <a:schemeClr val="bg1">
              <a:alpha val="42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65140B1-71EE-40E5-9412-9A8F44A1F077}"/>
              </a:ext>
            </a:extLst>
          </p:cNvPr>
          <p:cNvSpPr/>
          <p:nvPr userDrawn="1"/>
        </p:nvSpPr>
        <p:spPr>
          <a:xfrm>
            <a:off x="-33993" y="3738881"/>
            <a:ext cx="293073" cy="31265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DBAEF4A-525C-44D2-BDE5-3DBDB234C93C}"/>
              </a:ext>
            </a:extLst>
          </p:cNvPr>
          <p:cNvSpPr/>
          <p:nvPr userDrawn="1"/>
        </p:nvSpPr>
        <p:spPr>
          <a:xfrm>
            <a:off x="11948160" y="0"/>
            <a:ext cx="291506" cy="68729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32CE57F-F005-495C-ACED-2FA17F3B205A}"/>
              </a:ext>
            </a:extLst>
          </p:cNvPr>
          <p:cNvSpPr/>
          <p:nvPr userDrawn="1"/>
        </p:nvSpPr>
        <p:spPr>
          <a:xfrm>
            <a:off x="10464800" y="6085840"/>
            <a:ext cx="1696720" cy="635635"/>
          </a:xfrm>
          <a:prstGeom prst="rect">
            <a:avLst/>
          </a:prstGeom>
          <a:solidFill>
            <a:schemeClr val="bg1">
              <a:alpha val="42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A60BEB20-6276-405E-B953-F1E485BF16F6}"/>
              </a:ext>
            </a:extLst>
          </p:cNvPr>
          <p:cNvSpPr txBox="1">
            <a:spLocks/>
          </p:cNvSpPr>
          <p:nvPr userDrawn="1"/>
        </p:nvSpPr>
        <p:spPr>
          <a:xfrm>
            <a:off x="6284290" y="6445136"/>
            <a:ext cx="4922520" cy="1077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232703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1326F00-3E69-480B-8478-4E265ED31F11}"/>
              </a:ext>
            </a:extLst>
          </p:cNvPr>
          <p:cNvSpPr/>
          <p:nvPr userDrawn="1"/>
        </p:nvSpPr>
        <p:spPr>
          <a:xfrm>
            <a:off x="-20320" y="-16042"/>
            <a:ext cx="4602480" cy="30073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1A4009-8DF5-4D89-9601-5B4F8E7941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000" b="1">
                <a:solidFill>
                  <a:srgbClr val="3DBBA9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366C37-CF59-477E-82C7-1DF1263FBA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AE394D-CE40-4E27-AA18-A8575A1E9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B1EE3-7201-45A4-B4D0-1F08E4FD2D4E}" type="datetimeFigureOut">
              <a:rPr lang="fr-BE" smtClean="0"/>
              <a:t>08-02-21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C8ECFC-B773-4F61-8C9E-FC2A5FA539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77BD77-DD8F-452F-8F2B-A2B7BFBB4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7C645-4840-4E67-A762-6E3BD409A639}" type="slidenum">
              <a:rPr lang="fr-BE" smtClean="0"/>
              <a:t>‹#›</a:t>
            </a:fld>
            <a:endParaRPr lang="fr-B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1C200C-89AB-4C07-ADB0-B695C5E63504}"/>
              </a:ext>
            </a:extLst>
          </p:cNvPr>
          <p:cNvSpPr/>
          <p:nvPr userDrawn="1"/>
        </p:nvSpPr>
        <p:spPr>
          <a:xfrm>
            <a:off x="3850640" y="-8432"/>
            <a:ext cx="8341360" cy="7704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E94CBA0-63E1-4AB0-9418-E0E9C17E750D}"/>
              </a:ext>
            </a:extLst>
          </p:cNvPr>
          <p:cNvSpPr/>
          <p:nvPr userDrawn="1"/>
        </p:nvSpPr>
        <p:spPr>
          <a:xfrm>
            <a:off x="10464800" y="6085840"/>
            <a:ext cx="1696720" cy="635635"/>
          </a:xfrm>
          <a:prstGeom prst="rect">
            <a:avLst/>
          </a:prstGeom>
          <a:solidFill>
            <a:schemeClr val="bg1">
              <a:alpha val="42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3AFD99-41C1-4B6C-837B-7956B36EED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9120" y="6248316"/>
            <a:ext cx="1171830" cy="39459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DB08D5E-45DA-4AF4-A04E-55EB1BD2B243}"/>
              </a:ext>
            </a:extLst>
          </p:cNvPr>
          <p:cNvSpPr/>
          <p:nvPr userDrawn="1"/>
        </p:nvSpPr>
        <p:spPr>
          <a:xfrm>
            <a:off x="10552875" y="6179446"/>
            <a:ext cx="1544320" cy="619760"/>
          </a:xfrm>
          <a:prstGeom prst="rect">
            <a:avLst/>
          </a:prstGeom>
          <a:solidFill>
            <a:schemeClr val="bg1">
              <a:alpha val="42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9D678104-52B9-4E6A-ABE9-E3EF5FCACE89}"/>
              </a:ext>
            </a:extLst>
          </p:cNvPr>
          <p:cNvSpPr txBox="1">
            <a:spLocks/>
          </p:cNvSpPr>
          <p:nvPr userDrawn="1"/>
        </p:nvSpPr>
        <p:spPr>
          <a:xfrm>
            <a:off x="6284290" y="6445136"/>
            <a:ext cx="4922520" cy="1077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2020 Accenture. All rights reserved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9CF82CF-9132-49F5-ABE7-FADAB76537A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15620" y="6362700"/>
            <a:ext cx="2085340" cy="423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3248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5571062-A090-4D56-854B-61A34BE3F352}"/>
              </a:ext>
            </a:extLst>
          </p:cNvPr>
          <p:cNvSpPr/>
          <p:nvPr userDrawn="1"/>
        </p:nvSpPr>
        <p:spPr>
          <a:xfrm>
            <a:off x="-91440" y="0"/>
            <a:ext cx="4602480" cy="30073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DB1362-2C39-49B2-88F7-E31A09912503}"/>
              </a:ext>
            </a:extLst>
          </p:cNvPr>
          <p:cNvSpPr/>
          <p:nvPr userDrawn="1"/>
        </p:nvSpPr>
        <p:spPr>
          <a:xfrm>
            <a:off x="3581400" y="0"/>
            <a:ext cx="8963526" cy="7379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1A65DF-D019-458D-9B61-0B8F2590CE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0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880CBB-3684-4E0F-88A8-CDF9BC75DB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B1EE3-7201-45A4-B4D0-1F08E4FD2D4E}" type="datetimeFigureOut">
              <a:rPr lang="fr-BE" smtClean="0"/>
              <a:t>08-02-21</a:t>
            </a:fld>
            <a:endParaRPr lang="fr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7BA5A5-497F-4059-862B-C3DE0D2E4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0292F5-2278-494D-9AFD-7B1AAA23AD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7C645-4840-4E67-A762-6E3BD409A639}" type="slidenum">
              <a:rPr lang="fr-BE" smtClean="0"/>
              <a:t>‹#›</a:t>
            </a:fld>
            <a:endParaRPr lang="fr-B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76FEF7-51D6-4912-AAE8-C65A8215C055}"/>
              </a:ext>
            </a:extLst>
          </p:cNvPr>
          <p:cNvSpPr/>
          <p:nvPr userDrawn="1"/>
        </p:nvSpPr>
        <p:spPr>
          <a:xfrm>
            <a:off x="-91440" y="658336"/>
            <a:ext cx="219777" cy="61996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803809E-53B3-4AE5-8860-B6C88BBFF3F4}"/>
              </a:ext>
            </a:extLst>
          </p:cNvPr>
          <p:cNvSpPr/>
          <p:nvPr userDrawn="1"/>
        </p:nvSpPr>
        <p:spPr>
          <a:xfrm>
            <a:off x="12173551" y="658336"/>
            <a:ext cx="219777" cy="61996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4141D5F-3310-468B-9A47-FB64A233AA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5620" y="6362700"/>
            <a:ext cx="2085340" cy="423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279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ter: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457200"/>
            <a:ext cx="5714999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3543302"/>
            <a:ext cx="5715000" cy="3162299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400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>
          <a:xfrm>
            <a:off x="9559232" y="5846780"/>
            <a:ext cx="2250858" cy="604157"/>
            <a:chOff x="9563100" y="1673029"/>
            <a:chExt cx="1389888" cy="373063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79588F68-3DAC-41F1-BB37-F2A007F0134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47741" y="937439"/>
            <a:ext cx="4309200" cy="4524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41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EA78B-6358-4CC2-9746-D881F8ED9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CEC0C2-1F3D-4DB8-B1A2-653D8F54D8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9FD0D9-DF0B-463E-B841-DA96B854ED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B1EE3-7201-45A4-B4D0-1F08E4FD2D4E}" type="datetimeFigureOut">
              <a:rPr lang="fr-BE" smtClean="0"/>
              <a:t>08-02-21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A497B8-922B-4FB0-B8AC-2644D753D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4BEF37-2100-4079-A888-5558C03C18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7C645-4840-4E67-A762-6E3BD409A639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660092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5B4D74-325B-4AB2-B1FD-AF18A2C24D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931AA6-7161-474F-A93E-2352AB675B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2C704C-3381-4B1D-AA36-FAF95C2C0A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C91FF6-FD44-40A5-80F7-31188F041E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B1EE3-7201-45A4-B4D0-1F08E4FD2D4E}" type="datetimeFigureOut">
              <a:rPr lang="fr-BE" smtClean="0"/>
              <a:t>08-02-21</a:t>
            </a:fld>
            <a:endParaRPr lang="fr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C069C6-5B97-4C5A-B9B3-0A6CFA6BEA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879F41-FC7D-485E-AD12-F4CE8FE9A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7C645-4840-4E67-A762-6E3BD409A639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9348630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0CD6C-0B0A-400C-9B97-4E0E63531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16CAD2-34BA-486F-8085-1C3A62AED2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306F19-FD8A-40F4-A7D1-71809A1736D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C46964-73CD-4273-8C2A-B458FFE449D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72E6FC7-CF87-4D87-AF59-15943A55B7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122DCE4-DB64-49FA-A300-99878D93D7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B1EE3-7201-45A4-B4D0-1F08E4FD2D4E}" type="datetimeFigureOut">
              <a:rPr lang="fr-BE" smtClean="0"/>
              <a:t>08-02-21</a:t>
            </a:fld>
            <a:endParaRPr lang="fr-B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0EFBCE-8F83-49E5-B4C3-729EF887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6BFD082-DE2A-4E2A-86C7-740CD4EA75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7C645-4840-4E67-A762-6E3BD409A639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2643119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8AF54-13F9-47D5-8A61-856C7DF0F3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1B8CFA-E7E2-4BD0-8EE1-12130CA2CC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B1EE3-7201-45A4-B4D0-1F08E4FD2D4E}" type="datetimeFigureOut">
              <a:rPr lang="fr-BE" smtClean="0"/>
              <a:t>08-02-21</a:t>
            </a:fld>
            <a:endParaRPr lang="fr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46F26C-9345-44A2-AF20-D812D4B847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8E3A1C-B03F-4509-B620-336179BEA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7C645-4840-4E67-A762-6E3BD409A639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5713101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DB7ECC-113F-470F-A0BF-AF211D1EB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B1EE3-7201-45A4-B4D0-1F08E4FD2D4E}" type="datetimeFigureOut">
              <a:rPr lang="fr-BE" smtClean="0"/>
              <a:t>08-02-21</a:t>
            </a:fld>
            <a:endParaRPr lang="fr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4CB9C0-0DED-48E5-95D6-CE109FA7D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F54E5D-7BFC-4E58-AB58-800C482660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7C645-4840-4E67-A762-6E3BD409A639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0527497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A09F3D-812D-4DD7-8FC0-E80F6FBD35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22C515-24F3-44F1-800B-3632436E55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7B040D-847D-42C9-A8E8-A06CD51138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F32679-DEAD-4E06-B382-FC36FBDF1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B1EE3-7201-45A4-B4D0-1F08E4FD2D4E}" type="datetimeFigureOut">
              <a:rPr lang="fr-BE" smtClean="0"/>
              <a:t>08-02-21</a:t>
            </a:fld>
            <a:endParaRPr lang="fr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4BFCEF-CF8F-49A0-B1CF-2600A2214B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D21ED6-67DC-4474-AD0C-E31DA716E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7C645-4840-4E67-A762-6E3BD409A639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3633372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939982-09BE-4D08-8268-C88D2953F1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69C8EC-79CF-4697-BC15-ECE9557CAB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1FA5AD-0C95-475B-905E-B4E623F05F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1FB7A3-01D7-4872-8F0A-1F068FA9D2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B1EE3-7201-45A4-B4D0-1F08E4FD2D4E}" type="datetimeFigureOut">
              <a:rPr lang="fr-BE" smtClean="0"/>
              <a:t>08-02-21</a:t>
            </a:fld>
            <a:endParaRPr lang="fr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897C6A-1BED-491B-82D6-976B4F42B4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393C65-1CC2-4FBB-B9A1-E381137066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7C645-4840-4E67-A762-6E3BD409A639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7570928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3E66F3-2777-4ABE-A184-36E678BD1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714B916-0F81-43B0-A589-29B5FB3401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1526FB-5BC3-4F96-8644-F5F781662A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B1EE3-7201-45A4-B4D0-1F08E4FD2D4E}" type="datetimeFigureOut">
              <a:rPr lang="fr-BE" smtClean="0"/>
              <a:t>08-02-21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FEADBB-DDE6-4681-8F2A-7BC8546A6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746F87-7B8F-4D09-A86E-D68BB11BC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7C645-4840-4E67-A762-6E3BD409A639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942519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E105C41-E13D-4C3E-AFA8-CF5C453E281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C021D1A-5FC1-4554-9956-67981A9BDE6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42BEFC-1C55-493A-BC6D-3C22176A26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B1EE3-7201-45A4-B4D0-1F08E4FD2D4E}" type="datetimeFigureOut">
              <a:rPr lang="fr-BE" smtClean="0"/>
              <a:t>08-02-21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4C023D-21C8-42A7-A23B-0530EC3FAD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1EA05E-9F11-40F2-B1EB-0E160C799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7C645-4840-4E67-A762-6E3BD409A639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91402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E9FBC0-4355-4D75-8912-98A0BF3AE1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185D28-06F0-4EB7-938B-BBD10645AB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BFC8E9-1BFE-4A41-8EE5-67C5990653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70C0C-7991-4F29-AD0D-72FA52BB8A5D}" type="datetime1">
              <a:rPr lang="fr-BE" smtClean="0"/>
              <a:t>08-02-21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0F0F29-0BF6-40C1-A888-CB0D642B57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56E371-FD19-4C07-82C7-F6B09F1302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DAF2F-02B6-4F46-BD58-E00EC6C45FD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6872790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Black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457200"/>
            <a:ext cx="5714999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3543302"/>
            <a:ext cx="5715000" cy="3162299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400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Group 13"/>
          <p:cNvGrpSpPr>
            <a:grpSpLocks noChangeAspect="1"/>
          </p:cNvGrpSpPr>
          <p:nvPr userDrawn="1"/>
        </p:nvGrpSpPr>
        <p:grpSpPr>
          <a:xfrm>
            <a:off x="9554578" y="5833249"/>
            <a:ext cx="2256422" cy="605651"/>
            <a:chOff x="9638475" y="1219200"/>
            <a:chExt cx="1389888" cy="373063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DA33B9B6-4A4F-4E1B-A8B0-C068D42685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47741" y="937418"/>
            <a:ext cx="4309200" cy="4524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095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0FE531-2440-4FD5-B961-825D05B0C7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710467-7268-4E40-B53D-E5098405C8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A06D97-F655-4808-B485-2ED7F4543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EF8FE-FCB3-4464-B8E1-7F0B57204EC5}" type="datetime1">
              <a:rPr lang="fr-BE" smtClean="0"/>
              <a:t>08-02-21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8B51F5-CCA3-42ED-9EFF-CEF443788F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429CBA-E39F-4A14-BE05-716DC8B4F3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DAF2F-02B6-4F46-BD58-E00EC6C45FD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9667128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84D853-B644-47C3-BA58-67E7D5660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5F979D-ECE7-4045-9EFF-CC73076F7E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D40C7-4ED6-45E6-B9F1-46A1398307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DD399-EA2D-42AE-9601-8F8AF418C570}" type="datetime1">
              <a:rPr lang="fr-BE" smtClean="0"/>
              <a:t>08-02-21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11ECEC-6705-4CD1-8882-329F72477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B5CDB4-8F5D-4A49-BF60-72FC85452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DAF2F-02B6-4F46-BD58-E00EC6C45FD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909932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E7572-0B4B-4F4F-B48C-C12CDBF8A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AB4B6F-F2F6-4A94-B223-9077A994D8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14DF19-3064-4527-A112-4117550E22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C4A224-3BC5-489D-975E-2BF958BB8D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E5CE8A-D75A-4A46-9265-51D245388774}" type="datetime1">
              <a:rPr lang="fr-BE" smtClean="0"/>
              <a:t>08-02-21</a:t>
            </a:fld>
            <a:endParaRPr lang="fr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B482CAD-275A-4641-AEE6-3075E9E2F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  <a:endParaRPr lang="fr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286450-CCB7-4219-B43A-7CCA5A3FC5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DAF2F-02B6-4F46-BD58-E00EC6C45FD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1173233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AD00BD-769F-4959-99C1-C75F7E70B3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4840D-E26A-4131-B721-9DA4E75B5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20AA19-E849-4B12-A8AA-EF61C1F5A4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E0F6D2-292B-4B80-BF81-260980899D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5A0B20B-0D12-4EAC-8C75-B013B2CF72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9297A4-FAC7-4327-9ACC-085FA11E4C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0112D4-EAA7-4346-B428-7736704B4D38}" type="datetime1">
              <a:rPr lang="fr-BE" smtClean="0"/>
              <a:t>08-02-21</a:t>
            </a:fld>
            <a:endParaRPr lang="fr-B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0DDF7C0-794B-41F8-AF23-E9057D977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  <a:endParaRPr lang="fr-B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1AC087-B2A1-442A-BF84-1C9618594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DAF2F-02B6-4F46-BD58-E00EC6C45FD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3067983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37C651-3E2B-4B6D-B132-379F3B914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09FB39-B1BD-4DFA-AD82-44617EB2E3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877CE-9FB0-4AA4-AAF7-19309AD2D67C}" type="datetime1">
              <a:rPr lang="fr-BE" smtClean="0"/>
              <a:t>08-02-21</a:t>
            </a:fld>
            <a:endParaRPr lang="fr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C3BD08-A6FD-4671-A0BD-E143368F09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  <a:endParaRPr lang="fr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EEB146-F706-4A47-97CC-D42A287640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DAF2F-02B6-4F46-BD58-E00EC6C45FD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4800884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E80CF64-0994-4439-A25D-9FD8AE090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EE9A0-04A9-4B10-B02F-51CAA5C565E0}" type="datetime1">
              <a:rPr lang="fr-BE" smtClean="0"/>
              <a:t>08-02-21</a:t>
            </a:fld>
            <a:endParaRPr lang="fr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62C232-9BFE-4801-BFBD-75C385285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  <a:endParaRPr lang="fr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7CFEF9-A380-4BFD-9B48-A0EEEEBDDE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DAF2F-02B6-4F46-BD58-E00EC6C45FD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6656736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B6810F-2711-4561-9B2E-287AE0A58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443179-89B7-4F68-8045-577DCA2615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AA9715-146C-4B60-9202-75A4FEA282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3405D0-DA8C-411A-A7CB-71A84341B8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40826-7613-4A00-A16B-655B54562FF4}" type="datetime1">
              <a:rPr lang="fr-BE" smtClean="0"/>
              <a:t>08-02-21</a:t>
            </a:fld>
            <a:endParaRPr lang="fr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0BE993-7896-44E3-979A-E07790788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  <a:endParaRPr lang="fr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01646-9009-4336-94BC-F36A22646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DAF2F-02B6-4F46-BD58-E00EC6C45FD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374193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A28C82-DAEF-420D-8167-081336A6A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ACC4C9-AFCE-4A20-885B-FBEFF4E2BC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fr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80C348-47FD-4351-ABD9-3A6782AFED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EC3764-2A2F-415B-A6D2-28D2CE6067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E991C-080A-43A0-8531-A10B00F989A0}" type="datetime1">
              <a:rPr lang="fr-BE" smtClean="0"/>
              <a:t>08-02-21</a:t>
            </a:fld>
            <a:endParaRPr lang="fr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44C03C-1B3D-47C4-A4B4-673031881D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  <a:endParaRPr lang="fr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E6C012-21CD-4FB0-AF5F-3A1467078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DAF2F-02B6-4F46-BD58-E00EC6C45FD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2271385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8DA4B5-AC95-4652-9DEA-D01245CFC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46F12BC-A9F3-4A15-A7DE-83A8C2D685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F2FF39-DEE2-434C-A204-0ADCF503B9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7BA2C-C279-43CF-A48C-15714638FC29}" type="datetime1">
              <a:rPr lang="fr-BE" smtClean="0"/>
              <a:t>08-02-21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C18ED4-8250-432C-AB8D-4727234B1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D50F53-1662-4F3C-BAA0-560BBBD77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DAF2F-02B6-4F46-BD58-E00EC6C45FD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704004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A1805DF-210E-4008-AD5C-FD3F250813B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F64C14-F51E-410C-B8BA-9C6F11B7B0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CF9977-625E-4EA1-8C84-DF118CB33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F12135-385E-46A6-8543-BD1873186B40}" type="datetime1">
              <a:rPr lang="fr-BE" smtClean="0"/>
              <a:t>08-02-21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27DE2C-2464-4598-BF8A-A24F5D89D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26142E-F919-435E-A999-D7E3D6EC3F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DAF2F-02B6-4F46-BD58-E00EC6C45FD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14150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White Centere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7856C36D-F467-4AE5-BC3E-D7E1740504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6960" y="939257"/>
            <a:ext cx="4309200" cy="4524660"/>
          </a:xfrm>
          <a:prstGeom prst="rect">
            <a:avLst/>
          </a:prstGeom>
        </p:spPr>
      </p:pic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9559232" y="5846780"/>
            <a:ext cx="2250858" cy="604157"/>
            <a:chOff x="9563100" y="1673029"/>
            <a:chExt cx="1389888" cy="373063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2" name="Freeform 5"/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49582" y="1936373"/>
            <a:ext cx="4246418" cy="2767405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525000" y="436417"/>
            <a:ext cx="2286000" cy="3512127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280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20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762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6000">
          <p15:clr>
            <a:srgbClr val="FBAE40"/>
          </p15:clr>
        </p15:guide>
        <p15:guide id="1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340E670-3EAF-49D7-BF57-12E14ED312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343" y="995005"/>
            <a:ext cx="5006955" cy="4867993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597464" y="394861"/>
            <a:ext cx="8035925" cy="695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5400" b="1" kern="1200" baseline="0" dirty="0" smtClean="0">
                <a:solidFill>
                  <a:schemeClr val="bg1"/>
                </a:solidFill>
                <a:latin typeface="Graphik" charset="0"/>
                <a:ea typeface="Graphik" charset="0"/>
                <a:cs typeface="Graphik" charset="0"/>
              </a:defRPr>
            </a:lvl1pPr>
            <a:lvl2pPr marL="457189" indent="0">
              <a:buNone/>
              <a:defRPr lang="en-US" sz="5400" b="1" kern="1200" dirty="0" smtClean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2pPr>
            <a:lvl3pPr marL="914377" indent="0">
              <a:buNone/>
              <a:defRPr lang="en-US" sz="5400" b="1" kern="1200" dirty="0" smtClean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3pPr>
            <a:lvl4pPr marL="1371566" indent="0">
              <a:buNone/>
              <a:defRPr lang="en-US" sz="5400" b="1" kern="1200" dirty="0" smtClean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4pPr>
            <a:lvl5pPr marL="1828754" indent="0">
              <a:buNone/>
              <a:defRPr lang="en-US" sz="5400" b="1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5pPr>
          </a:lstStyle>
          <a:p>
            <a:pPr lvl="0"/>
            <a:r>
              <a:rPr lang="en-US"/>
              <a:t>CLIENT NAME</a:t>
            </a:r>
          </a:p>
        </p:txBody>
      </p:sp>
      <p:sp>
        <p:nvSpPr>
          <p:cNvPr id="19" name="Freeform 5">
            <a:extLst>
              <a:ext uri="{FF2B5EF4-FFF2-40B4-BE49-F238E27FC236}">
                <a16:creationId xmlns:a16="http://schemas.microsoft.com/office/drawing/2014/main" id="{DC06FA81-2D06-45EE-A287-AD5445D5E5AA}"/>
              </a:ext>
            </a:extLst>
          </p:cNvPr>
          <p:cNvSpPr/>
          <p:nvPr/>
        </p:nvSpPr>
        <p:spPr>
          <a:xfrm>
            <a:off x="10967394" y="5919550"/>
            <a:ext cx="162860" cy="173804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86"/>
              <a:gd name="f7" fmla="val 93"/>
              <a:gd name="f8" fmla="val 66"/>
              <a:gd name="f9" fmla="val 50"/>
              <a:gd name="f10" fmla="val 47"/>
              <a:gd name="f11" fmla="val 27"/>
              <a:gd name="f12" fmla="val 35"/>
              <a:gd name="f13" fmla="val 57"/>
              <a:gd name="f14" fmla="+- 0 0 -90"/>
              <a:gd name="f15" fmla="*/ f3 1 86"/>
              <a:gd name="f16" fmla="*/ f4 1 93"/>
              <a:gd name="f17" fmla="val f5"/>
              <a:gd name="f18" fmla="val f6"/>
              <a:gd name="f19" fmla="val f7"/>
              <a:gd name="f20" fmla="*/ f14 f0 1"/>
              <a:gd name="f21" fmla="+- f19 0 f17"/>
              <a:gd name="f22" fmla="+- f18 0 f17"/>
              <a:gd name="f23" fmla="*/ f20 1 f2"/>
              <a:gd name="f24" fmla="*/ f22 1 86"/>
              <a:gd name="f25" fmla="*/ f21 1 93"/>
              <a:gd name="f26" fmla="*/ 0 f22 1"/>
              <a:gd name="f27" fmla="*/ 66 f21 1"/>
              <a:gd name="f28" fmla="*/ 50 f22 1"/>
              <a:gd name="f29" fmla="*/ 47 f21 1"/>
              <a:gd name="f30" fmla="*/ 27 f21 1"/>
              <a:gd name="f31" fmla="*/ 0 f21 1"/>
              <a:gd name="f32" fmla="*/ 86 f22 1"/>
              <a:gd name="f33" fmla="*/ 35 f21 1"/>
              <a:gd name="f34" fmla="*/ 57 f21 1"/>
              <a:gd name="f35" fmla="*/ 93 f21 1"/>
              <a:gd name="f36" fmla="+- f23 0 f1"/>
              <a:gd name="f37" fmla="*/ f26 1 86"/>
              <a:gd name="f38" fmla="*/ f27 1 93"/>
              <a:gd name="f39" fmla="*/ f28 1 86"/>
              <a:gd name="f40" fmla="*/ f29 1 93"/>
              <a:gd name="f41" fmla="*/ f30 1 93"/>
              <a:gd name="f42" fmla="*/ f31 1 93"/>
              <a:gd name="f43" fmla="*/ f32 1 86"/>
              <a:gd name="f44" fmla="*/ f33 1 93"/>
              <a:gd name="f45" fmla="*/ f34 1 93"/>
              <a:gd name="f46" fmla="*/ f35 1 93"/>
              <a:gd name="f47" fmla="*/ 0 1 f24"/>
              <a:gd name="f48" fmla="*/ f18 1 f24"/>
              <a:gd name="f49" fmla="*/ 0 1 f25"/>
              <a:gd name="f50" fmla="*/ f19 1 f25"/>
              <a:gd name="f51" fmla="*/ f37 1 f24"/>
              <a:gd name="f52" fmla="*/ f38 1 f25"/>
              <a:gd name="f53" fmla="*/ f39 1 f24"/>
              <a:gd name="f54" fmla="*/ f40 1 f25"/>
              <a:gd name="f55" fmla="*/ f41 1 f25"/>
              <a:gd name="f56" fmla="*/ f42 1 f25"/>
              <a:gd name="f57" fmla="*/ f43 1 f24"/>
              <a:gd name="f58" fmla="*/ f44 1 f25"/>
              <a:gd name="f59" fmla="*/ f45 1 f25"/>
              <a:gd name="f60" fmla="*/ f46 1 f25"/>
              <a:gd name="f61" fmla="*/ f47 f15 1"/>
              <a:gd name="f62" fmla="*/ f48 f15 1"/>
              <a:gd name="f63" fmla="*/ f50 f16 1"/>
              <a:gd name="f64" fmla="*/ f49 f16 1"/>
              <a:gd name="f65" fmla="*/ f51 f15 1"/>
              <a:gd name="f66" fmla="*/ f52 f16 1"/>
              <a:gd name="f67" fmla="*/ f53 f15 1"/>
              <a:gd name="f68" fmla="*/ f54 f16 1"/>
              <a:gd name="f69" fmla="*/ f55 f16 1"/>
              <a:gd name="f70" fmla="*/ f56 f16 1"/>
              <a:gd name="f71" fmla="*/ f57 f15 1"/>
              <a:gd name="f72" fmla="*/ f58 f16 1"/>
              <a:gd name="f73" fmla="*/ f59 f16 1"/>
              <a:gd name="f74" fmla="*/ f60 f1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36">
                <a:pos x="f65" y="f66"/>
              </a:cxn>
              <a:cxn ang="f36">
                <a:pos x="f67" y="f68"/>
              </a:cxn>
              <a:cxn ang="f36">
                <a:pos x="f65" y="f69"/>
              </a:cxn>
              <a:cxn ang="f36">
                <a:pos x="f65" y="f70"/>
              </a:cxn>
              <a:cxn ang="f36">
                <a:pos x="f71" y="f72"/>
              </a:cxn>
              <a:cxn ang="f36">
                <a:pos x="f71" y="f73"/>
              </a:cxn>
              <a:cxn ang="f36">
                <a:pos x="f65" y="f74"/>
              </a:cxn>
              <a:cxn ang="f36">
                <a:pos x="f65" y="f66"/>
              </a:cxn>
            </a:cxnLst>
            <a:rect l="f61" t="f64" r="f62" b="f63"/>
            <a:pathLst>
              <a:path w="86" h="93">
                <a:moveTo>
                  <a:pt x="f5" y="f8"/>
                </a:moveTo>
                <a:lnTo>
                  <a:pt x="f9" y="f10"/>
                </a:lnTo>
                <a:lnTo>
                  <a:pt x="f5" y="f11"/>
                </a:lnTo>
                <a:lnTo>
                  <a:pt x="f5" y="f5"/>
                </a:lnTo>
                <a:lnTo>
                  <a:pt x="f6" y="f12"/>
                </a:lnTo>
                <a:lnTo>
                  <a:pt x="f6" y="f13"/>
                </a:lnTo>
                <a:lnTo>
                  <a:pt x="f5" y="f7"/>
                </a:lnTo>
                <a:lnTo>
                  <a:pt x="f5" y="f8"/>
                </a:lnTo>
                <a:close/>
              </a:path>
            </a:pathLst>
          </a:custGeom>
          <a:solidFill>
            <a:schemeClr val="bg1"/>
          </a:solidFill>
          <a:ln>
            <a:noFill/>
            <a:prstDash val="solid"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marL="0" marR="0" lvl="0" indent="0" algn="l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00FFBC"/>
              </a:solidFill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17537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ndoor, sitting, small, brown&#10;&#10;Description automatically generated">
            <a:extLst>
              <a:ext uri="{FF2B5EF4-FFF2-40B4-BE49-F238E27FC236}">
                <a16:creationId xmlns:a16="http://schemas.microsoft.com/office/drawing/2014/main" id="{EA2957EA-F5AE-4EC0-8174-194F09F982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5"/>
          <a:stretch/>
        </p:blipFill>
        <p:spPr>
          <a:xfrm>
            <a:off x="-112889" y="-7145"/>
            <a:ext cx="12317589" cy="6928645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97464" y="394861"/>
            <a:ext cx="8035925" cy="695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5400" b="1" kern="1200" baseline="0" dirty="0" smtClean="0">
                <a:solidFill>
                  <a:schemeClr val="bg1"/>
                </a:solidFill>
                <a:latin typeface="Graphik" charset="0"/>
                <a:ea typeface="Graphik" charset="0"/>
                <a:cs typeface="Graphik" charset="0"/>
              </a:defRPr>
            </a:lvl1pPr>
            <a:lvl2pPr marL="457189" indent="0">
              <a:buNone/>
              <a:defRPr lang="en-US" sz="5400" b="1" kern="1200" dirty="0" smtClean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2pPr>
            <a:lvl3pPr marL="914377" indent="0">
              <a:buNone/>
              <a:defRPr lang="en-US" sz="5400" b="1" kern="1200" dirty="0" smtClean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3pPr>
            <a:lvl4pPr marL="1371566" indent="0">
              <a:buNone/>
              <a:defRPr lang="en-US" sz="5400" b="1" kern="1200" dirty="0" smtClean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4pPr>
            <a:lvl5pPr marL="1828754" indent="0">
              <a:buNone/>
              <a:defRPr lang="en-US" sz="5400" b="1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5pPr>
          </a:lstStyle>
          <a:p>
            <a:pPr lvl="0"/>
            <a:r>
              <a:rPr lang="en-US"/>
              <a:t>CLIENT NAME</a:t>
            </a:r>
          </a:p>
        </p:txBody>
      </p:sp>
      <p:pic>
        <p:nvPicPr>
          <p:cNvPr id="16" name="Picture 15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D422E791-EB45-42E1-9D17-2A4C6F1BC4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2700" y="6146127"/>
            <a:ext cx="1586852" cy="41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4753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 here</a:t>
            </a:r>
            <a:endParaRPr lang="en-US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Add image here</a:t>
            </a:r>
            <a:endParaRPr lang="en-US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11" name="Graphic 4">
            <a:extLst>
              <a:ext uri="{FF2B5EF4-FFF2-40B4-BE49-F238E27FC236}">
                <a16:creationId xmlns:a16="http://schemas.microsoft.com/office/drawing/2014/main" id="{2823ABF6-DA1C-4C36-B01C-57A2B31166E8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52323-3645-4D54-A333-3E2D3D1E3ED3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>
                    <a:alpha val="75000"/>
                  </a:schemeClr>
                </a:solidFill>
              </a:rPr>
              <a:t>Copyright © 2021 Accenture. All rights reserved.</a:t>
            </a:r>
            <a:endParaRPr lang="en-US" noProof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17CEB-6634-4DFE-841E-12DDA90C7C5D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3380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5419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White Centere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76AE530-6D8E-42F8-BA86-07A10527D5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6960" y="885392"/>
            <a:ext cx="4309200" cy="46323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49582" y="1943100"/>
            <a:ext cx="4246418" cy="2857500"/>
          </a:xfrm>
        </p:spPr>
        <p:txBody>
          <a:bodyPr tIns="0" anchor="ctr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525000" y="436417"/>
            <a:ext cx="2286000" cy="3512127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280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20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6DB7A5A-C46B-4441-A6AE-252785AAEE7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559232" y="5846780"/>
            <a:ext cx="2250858" cy="604157"/>
            <a:chOff x="9563100" y="1673029"/>
            <a:chExt cx="1389888" cy="373063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4546DE7-6E5E-4ED4-BF42-C57CC67A1F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4A178CE6-BDDF-4385-9920-EFAB1BA6B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74465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00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White Centered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47D768F-5596-42EF-B0EE-02C343AC7A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6960" y="939257"/>
            <a:ext cx="4309200" cy="45246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49582" y="1943100"/>
            <a:ext cx="4246418" cy="28575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525000" y="436417"/>
            <a:ext cx="2286000" cy="3512127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280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20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E8D14B1-B5B6-4F20-91A6-9551612A052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559232" y="5846780"/>
            <a:ext cx="2250858" cy="604157"/>
            <a:chOff x="9563100" y="1673029"/>
            <a:chExt cx="1389888" cy="373063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5E7D083-47B0-4A8C-8E99-87AB7D90E8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F67B75B8-33A4-48BE-938E-2F96BF473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71322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00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0293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8 Accenture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6581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8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907914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3.xml"/><Relationship Id="rId18" Type="http://schemas.openxmlformats.org/officeDocument/2006/relationships/image" Target="../media/image9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8.xml"/><Relationship Id="rId16" Type="http://schemas.openxmlformats.org/officeDocument/2006/relationships/oleObject" Target="../embeddings/oleObject3.bin"/><Relationship Id="rId20" Type="http://schemas.openxmlformats.org/officeDocument/2006/relationships/image" Target="../media/image1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6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7DE19A-4FF5-468B-895E-223C12FA9B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39002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6" progId="TCLayout.ActiveDocument.1">
                  <p:embed/>
                </p:oleObj>
              </mc:Choice>
              <mc:Fallback>
                <p:oleObj name="think-cell Slide" r:id="rId11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7DE19A-4FF5-468B-895E-223C12FA9B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F2746CC-C2D9-4976-A6CE-4283A94A9D8F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7931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hf sldNum="0" hdr="0" ft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5000"/>
        </a:lnSpc>
        <a:spcBef>
          <a:spcPts val="0"/>
        </a:spcBef>
        <a:buFont typeface="Arial" panose="020B0604020202020204" pitchFamily="34" charset="0"/>
        <a:buNone/>
        <a:defRPr sz="1800" b="1" kern="1200" cap="all" baseline="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3034" indent="-169858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46066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24">
          <p15:clr>
            <a:srgbClr val="F26B43"/>
          </p15:clr>
        </p15:guide>
        <p15:guide id="2" pos="5640">
          <p15:clr>
            <a:srgbClr val="F26B43"/>
          </p15:clr>
        </p15:guide>
        <p15:guide id="4">
          <p15:clr>
            <a:srgbClr val="F26B43"/>
          </p15:clr>
        </p15:guide>
        <p15:guide id="5" orient="horz" pos="240">
          <p15:clr>
            <a:srgbClr val="F26B43"/>
          </p15:clr>
        </p15:guide>
        <p15:guide id="6" orient="horz">
          <p15:clr>
            <a:srgbClr val="F26B43"/>
          </p15:clr>
        </p15:guide>
        <p15:guide id="7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5" orient="horz" pos="2232">
          <p15:clr>
            <a:srgbClr val="F26B43"/>
          </p15:clr>
        </p15:guide>
        <p15:guide id="16" orient="horz" pos="32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FCADAD-C489-406D-879F-A821EF7CDF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34009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3" imgH="476" progId="TCLayout.ActiveDocument.1">
                  <p:embed/>
                </p:oleObj>
              </mc:Choice>
              <mc:Fallback>
                <p:oleObj name="think-cell Slide" r:id="rId13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FCADAD-C489-406D-879F-A821EF7CDF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B1F7676-EC6F-46AC-9F4D-927A5252D984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opyright © 2018 Accenture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7833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</p:sldLayoutIdLst>
  <p:hf hdr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02263E51-8D54-493B-AE71-31C81ADC7E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09357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6" progId="TCLayout.ActiveDocument.1">
                  <p:embed/>
                </p:oleObj>
              </mc:Choice>
              <mc:Fallback>
                <p:oleObj name="think-cell Slide" r:id="rId16" imgW="473" imgH="47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02263E51-8D54-493B-AE71-31C81ADC7E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7C99BD47-EC18-4CAE-81B0-2B3A98571E3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9681007-6725-4D5D-ABED-8D76256F1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6DFAE8-7E7B-4051-A571-AE9B6D458E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F3C361-A9A4-4C80-97B0-55A3A869BA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CB1EE3-7201-45A4-B4D0-1F08E4FD2D4E}" type="datetimeFigureOut">
              <a:rPr lang="fr-BE" smtClean="0"/>
              <a:t>08-02-21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A7F8DC-3C7E-486C-9718-A86FF2A04F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9D857F-E5F2-4635-9A1C-D20C966400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47C645-4840-4E67-A762-6E3BD409A639}" type="slidenum">
              <a:rPr lang="fr-BE" smtClean="0"/>
              <a:t>‹#›</a:t>
            </a:fld>
            <a:endParaRPr lang="fr-B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97EF9E-0ED0-4D2C-85B8-34F5D0748A0F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0" y="0"/>
            <a:ext cx="10933727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A847A7C-8C61-4ABB-BC28-98CFB7A0543B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7750334" y="2180193"/>
            <a:ext cx="3455402" cy="249761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1D6C26D-9255-454C-87A6-52BEA68B8224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259080" y="2877978"/>
            <a:ext cx="2039045" cy="363950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A5401BD-D0EF-4AF1-9B93-A0F94FA3E266}"/>
              </a:ext>
            </a:extLst>
          </p:cNvPr>
          <p:cNvSpPr/>
          <p:nvPr userDrawn="1"/>
        </p:nvSpPr>
        <p:spPr>
          <a:xfrm>
            <a:off x="0" y="1955879"/>
            <a:ext cx="10353040" cy="116324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EA21DE-6661-4C19-A8D3-3FD20FF41A92}"/>
              </a:ext>
            </a:extLst>
          </p:cNvPr>
          <p:cNvSpPr/>
          <p:nvPr userDrawn="1"/>
        </p:nvSpPr>
        <p:spPr>
          <a:xfrm>
            <a:off x="-12929" y="2877978"/>
            <a:ext cx="724129" cy="31265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FAED1A-9F70-4B11-A03F-1799544FE6BA}"/>
              </a:ext>
            </a:extLst>
          </p:cNvPr>
          <p:cNvSpPr/>
          <p:nvPr userDrawn="1"/>
        </p:nvSpPr>
        <p:spPr>
          <a:xfrm>
            <a:off x="2026116" y="2804160"/>
            <a:ext cx="5847884" cy="33481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FE2B17-B456-4A68-9BFA-F31636C634A0}"/>
              </a:ext>
            </a:extLst>
          </p:cNvPr>
          <p:cNvSpPr/>
          <p:nvPr userDrawn="1"/>
        </p:nvSpPr>
        <p:spPr>
          <a:xfrm>
            <a:off x="6868160" y="4480560"/>
            <a:ext cx="3297724" cy="1524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E664F0-E8A4-4AEA-9A58-CFA394ABA377}"/>
              </a:ext>
            </a:extLst>
          </p:cNvPr>
          <p:cNvSpPr/>
          <p:nvPr userDrawn="1"/>
        </p:nvSpPr>
        <p:spPr>
          <a:xfrm>
            <a:off x="-12929" y="-7462"/>
            <a:ext cx="4259809" cy="28854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1CA59CA-F111-4A37-A4F6-5654B1A55BB0}"/>
              </a:ext>
            </a:extLst>
          </p:cNvPr>
          <p:cNvSpPr/>
          <p:nvPr userDrawn="1"/>
        </p:nvSpPr>
        <p:spPr>
          <a:xfrm>
            <a:off x="-33992" y="-7462"/>
            <a:ext cx="291506" cy="68729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B1F596-EE80-43B7-8C07-F9A56CC776A0}"/>
              </a:ext>
            </a:extLst>
          </p:cNvPr>
          <p:cNvSpPr/>
          <p:nvPr userDrawn="1"/>
        </p:nvSpPr>
        <p:spPr>
          <a:xfrm>
            <a:off x="-20320" y="6761106"/>
            <a:ext cx="12212320" cy="1070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A7639F0-41AD-4D18-B6CB-31FF6CF9AFC8}"/>
              </a:ext>
            </a:extLst>
          </p:cNvPr>
          <p:cNvSpPr/>
          <p:nvPr userDrawn="1"/>
        </p:nvSpPr>
        <p:spPr>
          <a:xfrm>
            <a:off x="10464800" y="6085840"/>
            <a:ext cx="1696720" cy="635635"/>
          </a:xfrm>
          <a:prstGeom prst="rect">
            <a:avLst/>
          </a:prstGeom>
          <a:solidFill>
            <a:schemeClr val="bg1">
              <a:alpha val="42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380C99C-40D3-41AD-87FA-F39197530261}"/>
              </a:ext>
            </a:extLst>
          </p:cNvPr>
          <p:cNvSpPr/>
          <p:nvPr userDrawn="1"/>
        </p:nvSpPr>
        <p:spPr>
          <a:xfrm>
            <a:off x="11904007" y="-6091"/>
            <a:ext cx="291506" cy="68729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031607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A4DE39-7FE0-4281-87B4-B8C553C2E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DC80B2-4D26-4546-92A3-F17E18ABA8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51EA60-1CCB-49B1-B9BC-56AAABA8B5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0F3652-9DFF-4AD5-B098-355E6C7AB332}" type="datetime1">
              <a:rPr lang="fr-BE" smtClean="0"/>
              <a:t>08-02-21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9ADED0-34FA-41FF-A50F-76882673C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pyright © 2019 Accenture. All rights reserved.</a:t>
            </a:r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91B907-4346-47EE-A66A-F9DDF583D2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4DAF2F-02B6-4F46-BD58-E00EC6C45FDB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827469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mailto:sven.hanoteaux@beeodiversity.com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3.xml"/><Relationship Id="rId5" Type="http://schemas.openxmlformats.org/officeDocument/2006/relationships/hyperlink" Target="mailto:adeline.decuyper@accenture.com" TargetMode="External"/><Relationship Id="rId4" Type="http://schemas.openxmlformats.org/officeDocument/2006/relationships/hyperlink" Target="mailto:kim.nguyen@beeodiversity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flower, honeycomb&#10;&#10;Description automatically generated">
            <a:extLst>
              <a:ext uri="{FF2B5EF4-FFF2-40B4-BE49-F238E27FC236}">
                <a16:creationId xmlns:a16="http://schemas.microsoft.com/office/drawing/2014/main" id="{C5E1F7B6-9FDD-4E06-8997-A579E77219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80308" y="-130532"/>
            <a:ext cx="15608287" cy="69885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1644BCD-EF19-4680-82DF-F098D78D38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3644900" y="1965305"/>
            <a:ext cx="564592" cy="51063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223A70A-315D-4E3B-BCEC-17E0D7BF585B}"/>
              </a:ext>
            </a:extLst>
          </p:cNvPr>
          <p:cNvSpPr/>
          <p:nvPr/>
        </p:nvSpPr>
        <p:spPr>
          <a:xfrm>
            <a:off x="-3629190" y="-161429"/>
            <a:ext cx="534390" cy="510639"/>
          </a:xfrm>
          <a:prstGeom prst="rect">
            <a:avLst/>
          </a:prstGeom>
          <a:solidFill>
            <a:srgbClr val="3DBBA9"/>
          </a:solidFill>
          <a:ln>
            <a:solidFill>
              <a:srgbClr val="3DBB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DC82D4-8FC8-4BE7-89E6-F66A8791A71B}"/>
              </a:ext>
            </a:extLst>
          </p:cNvPr>
          <p:cNvSpPr/>
          <p:nvPr/>
        </p:nvSpPr>
        <p:spPr>
          <a:xfrm>
            <a:off x="-3629190" y="501610"/>
            <a:ext cx="534390" cy="510639"/>
          </a:xfrm>
          <a:prstGeom prst="rect">
            <a:avLst/>
          </a:prstGeom>
          <a:solidFill>
            <a:srgbClr val="C7E78B"/>
          </a:solidFill>
          <a:ln>
            <a:solidFill>
              <a:srgbClr val="C7E78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C852C7A-D8F6-42B2-9EE2-1EC403232C3C}"/>
              </a:ext>
            </a:extLst>
          </p:cNvPr>
          <p:cNvSpPr/>
          <p:nvPr/>
        </p:nvSpPr>
        <p:spPr>
          <a:xfrm>
            <a:off x="-3629190" y="1198358"/>
            <a:ext cx="534390" cy="510639"/>
          </a:xfrm>
          <a:prstGeom prst="rect">
            <a:avLst/>
          </a:prstGeom>
          <a:solidFill>
            <a:srgbClr val="D5F0E1"/>
          </a:solidFill>
          <a:ln>
            <a:solidFill>
              <a:srgbClr val="D5F0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D96906-FE27-45DD-BFB4-FC41B098A31C}"/>
              </a:ext>
            </a:extLst>
          </p:cNvPr>
          <p:cNvSpPr/>
          <p:nvPr/>
        </p:nvSpPr>
        <p:spPr>
          <a:xfrm>
            <a:off x="-3644900" y="2662053"/>
            <a:ext cx="534390" cy="510639"/>
          </a:xfrm>
          <a:prstGeom prst="rect">
            <a:avLst/>
          </a:prstGeom>
          <a:solidFill>
            <a:srgbClr val="DBE4AA"/>
          </a:solidFill>
          <a:ln>
            <a:solidFill>
              <a:srgbClr val="DBE4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BD06080-3B71-4304-85C7-65C916235521}"/>
              </a:ext>
            </a:extLst>
          </p:cNvPr>
          <p:cNvSpPr/>
          <p:nvPr/>
        </p:nvSpPr>
        <p:spPr>
          <a:xfrm>
            <a:off x="-3644900" y="3429000"/>
            <a:ext cx="534390" cy="510639"/>
          </a:xfrm>
          <a:prstGeom prst="rect">
            <a:avLst/>
          </a:prstGeom>
          <a:solidFill>
            <a:srgbClr val="DCEDCC"/>
          </a:solidFill>
          <a:ln>
            <a:solidFill>
              <a:srgbClr val="DCED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47E1DE-9DFF-4FA7-AECA-7D0EF022D721}"/>
              </a:ext>
            </a:extLst>
          </p:cNvPr>
          <p:cNvSpPr txBox="1"/>
          <p:nvPr/>
        </p:nvSpPr>
        <p:spPr>
          <a:xfrm>
            <a:off x="1855381" y="2024010"/>
            <a:ext cx="7136464" cy="911907"/>
          </a:xfrm>
          <a:prstGeom prst="rect">
            <a:avLst/>
          </a:prstGeom>
          <a:effectLst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-15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prstClr val="black"/>
                  </a:outerShdw>
                </a:effectLst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BeeOdiversity</a:t>
            </a:r>
            <a:r>
              <a:rPr kumimoji="0" lang="en-US" sz="40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prstClr val="black"/>
                  </a:outerShdw>
                </a:effectLst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prstClr val="black"/>
                  </a:outerShdw>
                </a:effectLst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Hackathon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50800" dir="5400000" algn="ctr" rotWithShape="0">
                  <a:prstClr val="black"/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 AI will help to </a:t>
            </a:r>
            <a:endParaRPr lang="en-US" sz="2800" spc="-15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rove our 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spc="-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</a:t>
            </a:r>
            <a:endParaRPr kumimoji="0" lang="en-US" sz="2800" b="0" i="0" u="none" strike="noStrike" kern="1200" cap="none" spc="-15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1" name="Picture 20" descr="A close up of a logo&#10;&#10;Description automatically generated">
            <a:extLst>
              <a:ext uri="{FF2B5EF4-FFF2-40B4-BE49-F238E27FC236}">
                <a16:creationId xmlns:a16="http://schemas.microsoft.com/office/drawing/2014/main" id="{0F8B23AD-338F-4414-A4C5-DE451A05C20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71" y="4740318"/>
            <a:ext cx="2439228" cy="182942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02B33D0-A3E1-4350-BB62-4CE347984A48}"/>
              </a:ext>
            </a:extLst>
          </p:cNvPr>
          <p:cNvSpPr/>
          <p:nvPr/>
        </p:nvSpPr>
        <p:spPr>
          <a:xfrm>
            <a:off x="0" y="6496493"/>
            <a:ext cx="382772" cy="361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fr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59D28A49-FABC-4558-BE70-42F585C99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4290" y="6445136"/>
            <a:ext cx="4922520" cy="107722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pyright © 2020 Accenture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4DD9533-FE98-4740-A5B5-3AD665D6EF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825" y="5901670"/>
            <a:ext cx="2086266" cy="41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6174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B4C290F7-F6F6-48DD-8BC2-8BC9189BF55C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6" name="Graphic 4">
            <a:extLst>
              <a:ext uri="{FF2B5EF4-FFF2-40B4-BE49-F238E27FC236}">
                <a16:creationId xmlns:a16="http://schemas.microsoft.com/office/drawing/2014/main" id="{D12ACFF1-EDDC-4770-963D-F678BD4FD5FE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A801D87-091F-414B-9B33-0D96B36AD93A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Copyright © 2021 Accenture.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All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ights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eserved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.</a:t>
            </a:r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0C977D9-FD3B-4329-A701-533FD6A25EE8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nl-BE" sz="800" smtClean="0">
                <a:solidFill>
                  <a:schemeClr val="bg1">
                    <a:alpha val="75000"/>
                  </a:schemeClr>
                </a:solidFill>
              </a:rPr>
              <a:t>10</a:t>
            </a:fld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C9DF6C-78C6-43F0-9B7F-87B36C1B5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76003"/>
            <a:ext cx="11430000" cy="990600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Teaming &amp; Organization</a:t>
            </a:r>
            <a:br>
              <a:rPr lang="en-US" dirty="0"/>
            </a:br>
            <a:r>
              <a:rPr lang="en-US" dirty="0"/>
              <a:t>Demo moment &amp; intermediate checkpoint &amp; how to communicate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1F99101-A1FB-4670-9C7B-34867AB858ED}"/>
              </a:ext>
            </a:extLst>
          </p:cNvPr>
          <p:cNvSpPr txBox="1"/>
          <p:nvPr/>
        </p:nvSpPr>
        <p:spPr>
          <a:xfrm>
            <a:off x="602169" y="6380076"/>
            <a:ext cx="2944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&amp; BEEODIVERSIT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982445-80BD-41F0-B9BE-011EF3FEC142}"/>
              </a:ext>
            </a:extLst>
          </p:cNvPr>
          <p:cNvSpPr/>
          <p:nvPr/>
        </p:nvSpPr>
        <p:spPr>
          <a:xfrm>
            <a:off x="997448" y="1950046"/>
            <a:ext cx="1579070" cy="5254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n 8 Feb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2266F8F-8DE5-483F-AA25-88BDF2054E5B}"/>
              </a:ext>
            </a:extLst>
          </p:cNvPr>
          <p:cNvSpPr/>
          <p:nvPr/>
        </p:nvSpPr>
        <p:spPr>
          <a:xfrm>
            <a:off x="2984531" y="1950046"/>
            <a:ext cx="1579070" cy="5254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ue 9 Feb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D7015639-C153-4C5D-AB26-ADC7FEDE752E}"/>
              </a:ext>
            </a:extLst>
          </p:cNvPr>
          <p:cNvSpPr/>
          <p:nvPr/>
        </p:nvSpPr>
        <p:spPr>
          <a:xfrm>
            <a:off x="4971615" y="1950046"/>
            <a:ext cx="1579070" cy="5254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ed 10 Feb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98A2F6A8-6E46-4971-A4C6-FBB5C9C6D9EE}"/>
              </a:ext>
            </a:extLst>
          </p:cNvPr>
          <p:cNvSpPr/>
          <p:nvPr/>
        </p:nvSpPr>
        <p:spPr>
          <a:xfrm>
            <a:off x="6958698" y="1950046"/>
            <a:ext cx="1579070" cy="5254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u 11 Feb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CD265A-1E2B-40CA-BD6F-D5764A64928B}"/>
              </a:ext>
            </a:extLst>
          </p:cNvPr>
          <p:cNvSpPr/>
          <p:nvPr/>
        </p:nvSpPr>
        <p:spPr>
          <a:xfrm>
            <a:off x="8945781" y="1950046"/>
            <a:ext cx="1579070" cy="5254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ri 12 Feb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8DF413C-7C10-43C6-93E7-3063AF3BA2B5}"/>
              </a:ext>
            </a:extLst>
          </p:cNvPr>
          <p:cNvSpPr txBox="1"/>
          <p:nvPr/>
        </p:nvSpPr>
        <p:spPr>
          <a:xfrm>
            <a:off x="868933" y="2543624"/>
            <a:ext cx="21975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Kick-off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FD7AB2-D00C-4CF2-AA41-F80D71A7B90D}"/>
              </a:ext>
            </a:extLst>
          </p:cNvPr>
          <p:cNvSpPr txBox="1"/>
          <p:nvPr/>
        </p:nvSpPr>
        <p:spPr>
          <a:xfrm>
            <a:off x="4739114" y="2543624"/>
            <a:ext cx="21975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1PM to 3 PM- Intermediate Dem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43BDF0-D6EB-43DE-B4F6-104741567176}"/>
              </a:ext>
            </a:extLst>
          </p:cNvPr>
          <p:cNvSpPr txBox="1"/>
          <p:nvPr/>
        </p:nvSpPr>
        <p:spPr>
          <a:xfrm>
            <a:off x="8609295" y="2543624"/>
            <a:ext cx="21975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3PM to 5PM – Final demo + aw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endParaRPr lang="en-US" sz="12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3849DE4-6D2B-47C2-B9F4-0F7645C8E95B}"/>
              </a:ext>
            </a:extLst>
          </p:cNvPr>
          <p:cNvSpPr txBox="1"/>
          <p:nvPr/>
        </p:nvSpPr>
        <p:spPr>
          <a:xfrm>
            <a:off x="10382370" y="4174533"/>
            <a:ext cx="18131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>
                <a:highlight>
                  <a:srgbClr val="FFFF00"/>
                </a:highlight>
              </a:rPr>
              <a:t>Your deadline ;-)</a:t>
            </a:r>
          </a:p>
        </p:txBody>
      </p:sp>
      <p:cxnSp>
        <p:nvCxnSpPr>
          <p:cNvPr id="25" name="Connector: Curved 24">
            <a:extLst>
              <a:ext uri="{FF2B5EF4-FFF2-40B4-BE49-F238E27FC236}">
                <a16:creationId xmlns:a16="http://schemas.microsoft.com/office/drawing/2014/main" id="{03AF0232-4138-46D5-BF08-6954D942BED0}"/>
              </a:ext>
            </a:extLst>
          </p:cNvPr>
          <p:cNvCxnSpPr>
            <a:cxnSpLocks/>
            <a:stCxn id="23" idx="3"/>
          </p:cNvCxnSpPr>
          <p:nvPr/>
        </p:nvCxnSpPr>
        <p:spPr>
          <a:xfrm>
            <a:off x="10806886" y="2959123"/>
            <a:ext cx="585224" cy="967789"/>
          </a:xfrm>
          <a:prstGeom prst="curvedConnector2">
            <a:avLst/>
          </a:prstGeom>
          <a:ln w="38100">
            <a:solidFill>
              <a:srgbClr val="00AE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FC86A929-7735-486D-8410-DC52EE44D2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8513" y="3529947"/>
            <a:ext cx="2318272" cy="2581834"/>
          </a:xfrm>
          <a:prstGeom prst="rect">
            <a:avLst/>
          </a:prstGeom>
        </p:spPr>
      </p:pic>
      <p:cxnSp>
        <p:nvCxnSpPr>
          <p:cNvPr id="31" name="Connector: Curved 30">
            <a:extLst>
              <a:ext uri="{FF2B5EF4-FFF2-40B4-BE49-F238E27FC236}">
                <a16:creationId xmlns:a16="http://schemas.microsoft.com/office/drawing/2014/main" id="{E4360499-9C50-4304-9AED-7231A57825BF}"/>
              </a:ext>
            </a:extLst>
          </p:cNvPr>
          <p:cNvCxnSpPr>
            <a:cxnSpLocks/>
          </p:cNvCxnSpPr>
          <p:nvPr/>
        </p:nvCxnSpPr>
        <p:spPr>
          <a:xfrm flipV="1">
            <a:off x="3639097" y="4267033"/>
            <a:ext cx="589372" cy="406181"/>
          </a:xfrm>
          <a:prstGeom prst="curvedConnector3">
            <a:avLst>
              <a:gd name="adj1" fmla="val 50000"/>
            </a:avLst>
          </a:prstGeom>
          <a:ln w="38100">
            <a:solidFill>
              <a:srgbClr val="00AE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DF59D137-3D86-4A60-BE47-A3FB89D3BC31}"/>
              </a:ext>
            </a:extLst>
          </p:cNvPr>
          <p:cNvSpPr txBox="1"/>
          <p:nvPr/>
        </p:nvSpPr>
        <p:spPr>
          <a:xfrm>
            <a:off x="4353094" y="4087920"/>
            <a:ext cx="430086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General Channel:  Contains </a:t>
            </a:r>
            <a:r>
              <a:rPr lang="en-US" sz="1200" b="1" dirty="0"/>
              <a:t>Data</a:t>
            </a:r>
            <a:r>
              <a:rPr lang="en-US" sz="1200" dirty="0"/>
              <a:t> files and </a:t>
            </a:r>
            <a:r>
              <a:rPr lang="en-US" sz="1200" b="1" dirty="0"/>
              <a:t>Documentation </a:t>
            </a:r>
            <a:r>
              <a:rPr lang="en-US" sz="1200" dirty="0"/>
              <a:t>and this </a:t>
            </a:r>
            <a:r>
              <a:rPr lang="en-US" sz="1200" b="1" dirty="0"/>
              <a:t>presentation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Support: Channels where you can ask questions throughout the week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Team 1 to 4:  Use these channels for your teams' </a:t>
            </a:r>
            <a:r>
              <a:rPr lang="en-US" sz="1200" b="1" dirty="0"/>
              <a:t>conversations </a:t>
            </a:r>
            <a:r>
              <a:rPr lang="en-US" sz="1200" dirty="0"/>
              <a:t> and </a:t>
            </a:r>
            <a:r>
              <a:rPr lang="en-US" sz="1200" b="1" dirty="0"/>
              <a:t>docume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1282392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B4C290F7-F6F6-48DD-8BC2-8BC9189BF55C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6" name="Graphic 4">
            <a:extLst>
              <a:ext uri="{FF2B5EF4-FFF2-40B4-BE49-F238E27FC236}">
                <a16:creationId xmlns:a16="http://schemas.microsoft.com/office/drawing/2014/main" id="{D12ACFF1-EDDC-4770-963D-F678BD4FD5FE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A801D87-091F-414B-9B33-0D96B36AD93A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Copyright © 2021 Accenture.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All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ights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eserved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.</a:t>
            </a:r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0C977D9-FD3B-4329-A701-533FD6A25EE8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nl-BE" sz="800" smtClean="0">
                <a:solidFill>
                  <a:schemeClr val="bg1">
                    <a:alpha val="75000"/>
                  </a:schemeClr>
                </a:solidFill>
              </a:rPr>
              <a:t>11</a:t>
            </a:fld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C9DF6C-78C6-43F0-9B7F-87B36C1B5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76003"/>
            <a:ext cx="11430000" cy="990600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Teaming &amp; Organization</a:t>
            </a:r>
            <a:br>
              <a:rPr lang="en-US" dirty="0"/>
            </a:br>
            <a:r>
              <a:rPr lang="en-US" dirty="0"/>
              <a:t>What software &amp; cloud can you use?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1F99101-A1FB-4670-9C7B-34867AB858ED}"/>
              </a:ext>
            </a:extLst>
          </p:cNvPr>
          <p:cNvSpPr txBox="1"/>
          <p:nvPr/>
        </p:nvSpPr>
        <p:spPr>
          <a:xfrm>
            <a:off x="602169" y="6380076"/>
            <a:ext cx="2944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&amp; BEEODIVERSITY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84A7691D-A8EC-4811-B467-AE4202B9B8E4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You are free to use any of your software Local or Cloud.</a:t>
            </a:r>
          </a:p>
          <a:p>
            <a:r>
              <a:rPr lang="en-US" dirty="0"/>
              <a:t>Leverage the skills in your team.</a:t>
            </a:r>
          </a:p>
        </p:txBody>
      </p:sp>
    </p:spTree>
    <p:extLst>
      <p:ext uri="{BB962C8B-B14F-4D97-AF65-F5344CB8AC3E}">
        <p14:creationId xmlns:p14="http://schemas.microsoft.com/office/powerpoint/2010/main" val="9975358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B4C290F7-F6F6-48DD-8BC2-8BC9189BF55C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6" name="Graphic 4">
            <a:extLst>
              <a:ext uri="{FF2B5EF4-FFF2-40B4-BE49-F238E27FC236}">
                <a16:creationId xmlns:a16="http://schemas.microsoft.com/office/drawing/2014/main" id="{D12ACFF1-EDDC-4770-963D-F678BD4FD5FE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A801D87-091F-414B-9B33-0D96B36AD93A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Copyright © 2021 Accenture.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All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ights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eserved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.</a:t>
            </a:r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0C977D9-FD3B-4329-A701-533FD6A25EE8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nl-BE" sz="800" smtClean="0">
                <a:solidFill>
                  <a:schemeClr val="bg1">
                    <a:alpha val="75000"/>
                  </a:schemeClr>
                </a:solidFill>
              </a:rPr>
              <a:t>12</a:t>
            </a:fld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C9DF6C-78C6-43F0-9B7F-87B36C1B5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76003"/>
            <a:ext cx="11430000" cy="990600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Data Set Introduction </a:t>
            </a:r>
            <a:br>
              <a:rPr lang="en-US" dirty="0"/>
            </a:br>
            <a:endParaRPr lang="en-US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1F99101-A1FB-4670-9C7B-34867AB858ED}"/>
              </a:ext>
            </a:extLst>
          </p:cNvPr>
          <p:cNvSpPr txBox="1"/>
          <p:nvPr/>
        </p:nvSpPr>
        <p:spPr>
          <a:xfrm>
            <a:off x="602169" y="6380076"/>
            <a:ext cx="2944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&amp; BEEODIVERSITY</a:t>
            </a:r>
          </a:p>
        </p:txBody>
      </p:sp>
      <p:pic>
        <p:nvPicPr>
          <p:cNvPr id="9" name="Picture 2" descr="Bijenkasten: welke bijenkast kan je het beste kiezen?">
            <a:extLst>
              <a:ext uri="{FF2B5EF4-FFF2-40B4-BE49-F238E27FC236}">
                <a16:creationId xmlns:a16="http://schemas.microsoft.com/office/drawing/2014/main" id="{01292EE8-4349-4552-88B1-00300A248B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04" r="30397"/>
          <a:stretch/>
        </p:blipFill>
        <p:spPr bwMode="auto">
          <a:xfrm>
            <a:off x="5068204" y="1300949"/>
            <a:ext cx="1390693" cy="1502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69D8C26-CD62-4CAF-BF59-12A51CFDCC8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701" r="34822"/>
          <a:stretch/>
        </p:blipFill>
        <p:spPr>
          <a:xfrm>
            <a:off x="967009" y="1262614"/>
            <a:ext cx="1666123" cy="171775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4B55A5D-ABDA-44AF-AE17-B81B8ABD42C8}"/>
              </a:ext>
            </a:extLst>
          </p:cNvPr>
          <p:cNvSpPr txBox="1"/>
          <p:nvPr/>
        </p:nvSpPr>
        <p:spPr>
          <a:xfrm>
            <a:off x="625620" y="3068509"/>
            <a:ext cx="40150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Geographical</a:t>
            </a:r>
            <a:r>
              <a:rPr lang="en-US" dirty="0"/>
              <a:t> data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47BE1A6-F8DA-4500-8A21-E6614AED8239}"/>
              </a:ext>
            </a:extLst>
          </p:cNvPr>
          <p:cNvSpPr txBox="1"/>
          <p:nvPr/>
        </p:nvSpPr>
        <p:spPr>
          <a:xfrm>
            <a:off x="4903325" y="3068509"/>
            <a:ext cx="40150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Historical </a:t>
            </a:r>
            <a:r>
              <a:rPr lang="en-US" dirty="0"/>
              <a:t>Data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2E11E67-496C-40C4-AD5A-4F41DC1D8AB3}"/>
              </a:ext>
            </a:extLst>
          </p:cNvPr>
          <p:cNvCxnSpPr>
            <a:cxnSpLocks/>
          </p:cNvCxnSpPr>
          <p:nvPr/>
        </p:nvCxnSpPr>
        <p:spPr>
          <a:xfrm>
            <a:off x="5648062" y="3570087"/>
            <a:ext cx="1" cy="5977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D5B2364-AC0F-4413-9CFD-39DB39B85A44}"/>
              </a:ext>
            </a:extLst>
          </p:cNvPr>
          <p:cNvCxnSpPr>
            <a:cxnSpLocks/>
          </p:cNvCxnSpPr>
          <p:nvPr/>
        </p:nvCxnSpPr>
        <p:spPr>
          <a:xfrm>
            <a:off x="6274502" y="3467465"/>
            <a:ext cx="570868" cy="7003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E419015-1798-48FB-8F98-775ED55D877B}"/>
              </a:ext>
            </a:extLst>
          </p:cNvPr>
          <p:cNvSpPr txBox="1"/>
          <p:nvPr/>
        </p:nvSpPr>
        <p:spPr>
          <a:xfrm flipH="1">
            <a:off x="4640644" y="4320872"/>
            <a:ext cx="215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eavy Meta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D69F7E-54A3-4DFD-B15C-B54C7A9F7303}"/>
              </a:ext>
            </a:extLst>
          </p:cNvPr>
          <p:cNvSpPr txBox="1"/>
          <p:nvPr/>
        </p:nvSpPr>
        <p:spPr>
          <a:xfrm flipH="1">
            <a:off x="8005232" y="4320872"/>
            <a:ext cx="215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esticides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BC28E13-4B44-47A1-BA57-6D8D2AD89162}"/>
              </a:ext>
            </a:extLst>
          </p:cNvPr>
          <p:cNvSpPr txBox="1"/>
          <p:nvPr/>
        </p:nvSpPr>
        <p:spPr>
          <a:xfrm flipH="1">
            <a:off x="760759" y="3429000"/>
            <a:ext cx="24320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highlight>
                  <a:srgbClr val="FFFF00"/>
                </a:highlight>
              </a:rPr>
              <a:t>Don’t worry, not need for GIS data structures, the work is prepared for you! :-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3A20ACB-8078-4831-96D8-147895F4DEE9}"/>
              </a:ext>
            </a:extLst>
          </p:cNvPr>
          <p:cNvSpPr txBox="1"/>
          <p:nvPr/>
        </p:nvSpPr>
        <p:spPr>
          <a:xfrm>
            <a:off x="252788" y="4240662"/>
            <a:ext cx="3874642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absSurfs.xlsx: </a:t>
            </a:r>
            <a:r>
              <a:rPr lang="en-US" sz="1200" dirty="0"/>
              <a:t> size of the area in m² of the </a:t>
            </a:r>
            <a:r>
              <a:rPr lang="en-US" sz="1200" dirty="0" err="1"/>
              <a:t>corine</a:t>
            </a:r>
            <a:r>
              <a:rPr lang="en-US" sz="1200" dirty="0"/>
              <a:t> land database related to the </a:t>
            </a:r>
            <a:r>
              <a:rPr lang="en-US" sz="1200" dirty="0" err="1"/>
              <a:t>behive</a:t>
            </a:r>
            <a:r>
              <a:rPr lang="en-US" sz="1200" dirty="0"/>
              <a:t> s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clc-nomenclature-c.xls : </a:t>
            </a:r>
            <a:r>
              <a:rPr lang="en-US" sz="1200" dirty="0"/>
              <a:t>legend information of the </a:t>
            </a:r>
            <a:r>
              <a:rPr lang="en-US" sz="1200" dirty="0" err="1"/>
              <a:t>corine</a:t>
            </a:r>
            <a:r>
              <a:rPr lang="en-US" sz="1200" dirty="0"/>
              <a:t> land data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distsOneSheet.xlsx: </a:t>
            </a:r>
            <a:r>
              <a:rPr lang="en-US" sz="1200" dirty="0"/>
              <a:t> distance of the area to the beehive site </a:t>
            </a:r>
            <a:endParaRPr lang="en-US" sz="1200" b="1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0308928-8512-49AC-AC6A-C5EB4E2285D8}"/>
              </a:ext>
            </a:extLst>
          </p:cNvPr>
          <p:cNvSpPr txBox="1"/>
          <p:nvPr/>
        </p:nvSpPr>
        <p:spPr>
          <a:xfrm>
            <a:off x="4640644" y="4719828"/>
            <a:ext cx="299282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LMR.txt (Stored per year)</a:t>
            </a:r>
            <a:r>
              <a:rPr lang="en-US" sz="1200" dirty="0"/>
              <a:t> heavy metals concentration of the </a:t>
            </a:r>
            <a:r>
              <a:rPr lang="en-US" sz="1200" dirty="0" err="1"/>
              <a:t>beeHives</a:t>
            </a:r>
            <a:r>
              <a:rPr lang="en-US" sz="1200" dirty="0"/>
              <a:t> existing sit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7922C3E-0659-490A-BE61-95B63935EC4D}"/>
              </a:ext>
            </a:extLst>
          </p:cNvPr>
          <p:cNvSpPr txBox="1"/>
          <p:nvPr/>
        </p:nvSpPr>
        <p:spPr>
          <a:xfrm>
            <a:off x="7587280" y="4719828"/>
            <a:ext cx="299282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pesticides.xlsx</a:t>
            </a:r>
            <a:r>
              <a:rPr lang="en-US" sz="1200" dirty="0"/>
              <a:t> information about each pesticid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1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B0E8961-F558-4B2B-BD02-581A5E719A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02276" y="1056708"/>
            <a:ext cx="2755090" cy="2444403"/>
          </a:xfrm>
          <a:prstGeom prst="rect">
            <a:avLst/>
          </a:prstGeom>
        </p:spPr>
      </p:pic>
      <p:pic>
        <p:nvPicPr>
          <p:cNvPr id="1028" name="Picture 4" descr="Microsoft Word Logo">
            <a:extLst>
              <a:ext uri="{FF2B5EF4-FFF2-40B4-BE49-F238E27FC236}">
                <a16:creationId xmlns:a16="http://schemas.microsoft.com/office/drawing/2014/main" id="{D61C39EB-4D48-49DB-95DB-7E8C0520E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481" y="-88050"/>
            <a:ext cx="2460880" cy="1385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5584B87A-4718-4169-A537-6325DB5BA3A5}"/>
              </a:ext>
            </a:extLst>
          </p:cNvPr>
          <p:cNvSpPr txBox="1"/>
          <p:nvPr/>
        </p:nvSpPr>
        <p:spPr>
          <a:xfrm flipH="1">
            <a:off x="10030931" y="3855298"/>
            <a:ext cx="24320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highlight>
                  <a:srgbClr val="FFFF00"/>
                </a:highlight>
              </a:rPr>
              <a:t>All the details (attributes information) are stored on DataDescription.docx!</a:t>
            </a:r>
          </a:p>
        </p:txBody>
      </p:sp>
      <p:cxnSp>
        <p:nvCxnSpPr>
          <p:cNvPr id="39" name="Connector: Curved 38">
            <a:extLst>
              <a:ext uri="{FF2B5EF4-FFF2-40B4-BE49-F238E27FC236}">
                <a16:creationId xmlns:a16="http://schemas.microsoft.com/office/drawing/2014/main" id="{240B362E-B44E-4D4D-B987-EC8FB50B4834}"/>
              </a:ext>
            </a:extLst>
          </p:cNvPr>
          <p:cNvCxnSpPr>
            <a:cxnSpLocks/>
          </p:cNvCxnSpPr>
          <p:nvPr/>
        </p:nvCxnSpPr>
        <p:spPr>
          <a:xfrm>
            <a:off x="10981156" y="2692979"/>
            <a:ext cx="585224" cy="967789"/>
          </a:xfrm>
          <a:prstGeom prst="curvedConnector2">
            <a:avLst/>
          </a:prstGeom>
          <a:ln w="38100">
            <a:solidFill>
              <a:srgbClr val="00AE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24099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B4C290F7-F6F6-48DD-8BC2-8BC9189BF55C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6" name="Graphic 4">
            <a:extLst>
              <a:ext uri="{FF2B5EF4-FFF2-40B4-BE49-F238E27FC236}">
                <a16:creationId xmlns:a16="http://schemas.microsoft.com/office/drawing/2014/main" id="{D12ACFF1-EDDC-4770-963D-F678BD4FD5FE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A801D87-091F-414B-9B33-0D96B36AD93A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Copyright © 2021 Accenture.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All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ights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eserved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.</a:t>
            </a:r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0C977D9-FD3B-4329-A701-533FD6A25EE8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nl-BE" sz="800" smtClean="0">
                <a:solidFill>
                  <a:schemeClr val="bg1">
                    <a:alpha val="75000"/>
                  </a:schemeClr>
                </a:solidFill>
              </a:rPr>
              <a:t>13</a:t>
            </a:fld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C9DF6C-78C6-43F0-9B7F-87B36C1B5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76003"/>
            <a:ext cx="11430000" cy="990600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Heavy Metals &amp; Pesticides </a:t>
            </a:r>
            <a:br>
              <a:rPr lang="en-US" dirty="0"/>
            </a:br>
            <a:endParaRPr lang="en-US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1F99101-A1FB-4670-9C7B-34867AB858ED}"/>
              </a:ext>
            </a:extLst>
          </p:cNvPr>
          <p:cNvSpPr txBox="1"/>
          <p:nvPr/>
        </p:nvSpPr>
        <p:spPr>
          <a:xfrm>
            <a:off x="602169" y="6380076"/>
            <a:ext cx="2944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&amp; BEEODIVERS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311D0FD-0A42-4638-A3F3-874AE6913864}"/>
              </a:ext>
            </a:extLst>
          </p:cNvPr>
          <p:cNvSpPr txBox="1"/>
          <p:nvPr/>
        </p:nvSpPr>
        <p:spPr>
          <a:xfrm>
            <a:off x="971234" y="1684549"/>
            <a:ext cx="6095158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esticides (115 total pesticide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ungicid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# xx Fungicide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Each with a threshold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secticid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# xx Insecticid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Herbicid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#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2A19D22-6BDD-4545-9C41-F67A30001E4E}"/>
              </a:ext>
            </a:extLst>
          </p:cNvPr>
          <p:cNvSpPr txBox="1"/>
          <p:nvPr/>
        </p:nvSpPr>
        <p:spPr>
          <a:xfrm>
            <a:off x="5267903" y="1695119"/>
            <a:ext cx="1798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&gt; Level 1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A855018-84F0-4BE1-AECE-38DBD9456110}"/>
              </a:ext>
            </a:extLst>
          </p:cNvPr>
          <p:cNvSpPr txBox="1"/>
          <p:nvPr/>
        </p:nvSpPr>
        <p:spPr>
          <a:xfrm>
            <a:off x="5444720" y="2041921"/>
            <a:ext cx="1798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&gt; Level 2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6F4C0DE-46CF-4AFB-B2E5-AE9AEBEC8908}"/>
              </a:ext>
            </a:extLst>
          </p:cNvPr>
          <p:cNvSpPr txBox="1"/>
          <p:nvPr/>
        </p:nvSpPr>
        <p:spPr>
          <a:xfrm>
            <a:off x="5641746" y="2421823"/>
            <a:ext cx="1798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&gt; Level 3</a:t>
            </a:r>
          </a:p>
        </p:txBody>
      </p:sp>
    </p:spTree>
    <p:extLst>
      <p:ext uri="{BB962C8B-B14F-4D97-AF65-F5344CB8AC3E}">
        <p14:creationId xmlns:p14="http://schemas.microsoft.com/office/powerpoint/2010/main" val="13237936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B4C290F7-F6F6-48DD-8BC2-8BC9189BF55C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6" name="Graphic 4">
            <a:extLst>
              <a:ext uri="{FF2B5EF4-FFF2-40B4-BE49-F238E27FC236}">
                <a16:creationId xmlns:a16="http://schemas.microsoft.com/office/drawing/2014/main" id="{D12ACFF1-EDDC-4770-963D-F678BD4FD5FE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A801D87-091F-414B-9B33-0D96B36AD93A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Copyright © 2021 Accenture.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All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ights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eserved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.</a:t>
            </a:r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0C977D9-FD3B-4329-A701-533FD6A25EE8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nl-BE" sz="800" smtClean="0">
                <a:solidFill>
                  <a:schemeClr val="bg1">
                    <a:alpha val="75000"/>
                  </a:schemeClr>
                </a:solidFill>
              </a:rPr>
              <a:t>14</a:t>
            </a:fld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C9DF6C-78C6-43F0-9B7F-87B36C1B5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76003"/>
            <a:ext cx="11430000" cy="990600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Data Science modeling considerations (1/2) </a:t>
            </a:r>
            <a:br>
              <a:rPr lang="en-US" dirty="0"/>
            </a:br>
            <a:endParaRPr lang="en-US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1F99101-A1FB-4670-9C7B-34867AB858ED}"/>
              </a:ext>
            </a:extLst>
          </p:cNvPr>
          <p:cNvSpPr txBox="1"/>
          <p:nvPr/>
        </p:nvSpPr>
        <p:spPr>
          <a:xfrm>
            <a:off x="602169" y="6380076"/>
            <a:ext cx="2944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&amp; BEEODIVERSITY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D3CCC4D-2C44-4AFC-9A35-6A74D7A33B75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hoose carefully what you want to predict</a:t>
            </a:r>
          </a:p>
          <a:p>
            <a:r>
              <a:rPr lang="en-US" dirty="0"/>
              <a:t>Probability to have :</a:t>
            </a:r>
          </a:p>
          <a:p>
            <a:pPr lvl="1"/>
            <a:r>
              <a:rPr lang="en-US" dirty="0"/>
              <a:t>At least one Pesticide</a:t>
            </a:r>
          </a:p>
          <a:p>
            <a:pPr lvl="2"/>
            <a:r>
              <a:rPr lang="en-US" dirty="0"/>
              <a:t>At least one Fungicide (Is it present or absent)</a:t>
            </a:r>
          </a:p>
          <a:p>
            <a:pPr lvl="2"/>
            <a:r>
              <a:rPr lang="en-US" dirty="0"/>
              <a:t>At least one Insecticide</a:t>
            </a:r>
          </a:p>
          <a:p>
            <a:pPr lvl="2"/>
            <a:r>
              <a:rPr lang="en-US" dirty="0"/>
              <a:t>At least one Herbicide</a:t>
            </a:r>
          </a:p>
          <a:p>
            <a:pPr lvl="2"/>
            <a:endParaRPr lang="en-US" dirty="0"/>
          </a:p>
          <a:p>
            <a:pPr lvl="1"/>
            <a:r>
              <a:rPr lang="en-US" dirty="0"/>
              <a:t>At least one Pesticide above the Maximum Residual Level (MRL) </a:t>
            </a:r>
          </a:p>
          <a:p>
            <a:pPr lvl="2"/>
            <a:r>
              <a:rPr lang="en-US" dirty="0"/>
              <a:t>At least one fungicide concentration above the MRL</a:t>
            </a:r>
          </a:p>
          <a:p>
            <a:pPr lvl="2"/>
            <a:r>
              <a:rPr lang="en-US" dirty="0"/>
              <a:t>At least one  insecticide above the MRL</a:t>
            </a:r>
          </a:p>
          <a:p>
            <a:pPr lvl="2"/>
            <a:r>
              <a:rPr lang="en-US" dirty="0"/>
              <a:t>At least one  herbicide above the MRL</a:t>
            </a:r>
          </a:p>
          <a:p>
            <a:pPr lvl="1"/>
            <a:r>
              <a:rPr lang="en-US" dirty="0"/>
              <a:t>At heavy metal</a:t>
            </a:r>
          </a:p>
          <a:p>
            <a:pPr lvl="2"/>
            <a:r>
              <a:rPr lang="en-US" dirty="0"/>
              <a:t>At one of the historical measurements of Pb (lead) concentration above the MRL</a:t>
            </a:r>
          </a:p>
          <a:p>
            <a:pPr lvl="2"/>
            <a:r>
              <a:rPr lang="en-US" dirty="0"/>
              <a:t>At one of the historical measurements of Cd (cadmium) concentration above the MRL</a:t>
            </a:r>
          </a:p>
          <a:p>
            <a:pPr lvl="2"/>
            <a:r>
              <a:rPr lang="en-US" dirty="0"/>
              <a:t>At one of the historical measurements of Cu (coper ) above the MRL</a:t>
            </a:r>
          </a:p>
          <a:p>
            <a:pPr lvl="2"/>
            <a:r>
              <a:rPr lang="en-US" dirty="0"/>
              <a:t>Is Hg (mercury) Absence or Present ?</a:t>
            </a:r>
          </a:p>
          <a:p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2428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B4C290F7-F6F6-48DD-8BC2-8BC9189BF55C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6" name="Graphic 4">
            <a:extLst>
              <a:ext uri="{FF2B5EF4-FFF2-40B4-BE49-F238E27FC236}">
                <a16:creationId xmlns:a16="http://schemas.microsoft.com/office/drawing/2014/main" id="{D12ACFF1-EDDC-4770-963D-F678BD4FD5FE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A801D87-091F-414B-9B33-0D96B36AD93A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Copyright © 2021 Accenture.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All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ights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eserved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.</a:t>
            </a:r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0C977D9-FD3B-4329-A701-533FD6A25EE8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nl-BE" sz="800" smtClean="0">
                <a:solidFill>
                  <a:schemeClr val="bg1">
                    <a:alpha val="75000"/>
                  </a:schemeClr>
                </a:solidFill>
              </a:rPr>
              <a:t>15</a:t>
            </a:fld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C9DF6C-78C6-43F0-9B7F-87B36C1B5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76003"/>
            <a:ext cx="11430000" cy="990600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Data Science modeling considerations (2/2) </a:t>
            </a:r>
            <a:br>
              <a:rPr lang="en-US" dirty="0"/>
            </a:br>
            <a:endParaRPr lang="en-US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1F99101-A1FB-4670-9C7B-34867AB858ED}"/>
              </a:ext>
            </a:extLst>
          </p:cNvPr>
          <p:cNvSpPr txBox="1"/>
          <p:nvPr/>
        </p:nvSpPr>
        <p:spPr>
          <a:xfrm>
            <a:off x="602169" y="6380076"/>
            <a:ext cx="2944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&amp; BEEODIVERSITY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D3CCC4D-2C44-4AFC-9A35-6A74D7A33B75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ata volume is limited and poses specific challenges</a:t>
            </a:r>
          </a:p>
          <a:p>
            <a:pPr lvl="1"/>
            <a:r>
              <a:rPr lang="en-US" dirty="0"/>
              <a:t>Based on the business and experiences so far,  the input data </a:t>
            </a:r>
            <a:r>
              <a:rPr lang="en-US" i="1" dirty="0"/>
              <a:t>should be</a:t>
            </a:r>
            <a:r>
              <a:rPr lang="en-US" dirty="0"/>
              <a:t> </a:t>
            </a:r>
            <a:r>
              <a:rPr lang="en-US" i="1" dirty="0"/>
              <a:t>quite good</a:t>
            </a:r>
            <a:r>
              <a:rPr lang="en-US" dirty="0"/>
              <a:t> in driving your predictions. </a:t>
            </a:r>
          </a:p>
          <a:p>
            <a:pPr lvl="1"/>
            <a:r>
              <a:rPr lang="en-US" dirty="0"/>
              <a:t>Still, think about specific methods (such as cross validation) to improve validity score </a:t>
            </a:r>
          </a:p>
          <a:p>
            <a:r>
              <a:rPr lang="en-US" dirty="0"/>
              <a:t>Can accuracy can be improved when categorizing the various attributes?</a:t>
            </a:r>
          </a:p>
          <a:p>
            <a:pPr lvl="1"/>
            <a:r>
              <a:rPr lang="en-US" dirty="0"/>
              <a:t>Corine Land Mine categories are granular,  although grouping at higher granularity may lose accuracy </a:t>
            </a:r>
          </a:p>
          <a:p>
            <a:pPr lvl="1"/>
            <a:r>
              <a:rPr lang="en-US" dirty="0"/>
              <a:t>Grouping all the pesticides in 3 categories (herbicides, </a:t>
            </a:r>
            <a:r>
              <a:rPr lang="en-US" dirty="0" err="1"/>
              <a:t>funghcides</a:t>
            </a:r>
            <a:r>
              <a:rPr lang="en-US" dirty="0"/>
              <a:t>, Insecticide may improve your model scores </a:t>
            </a:r>
          </a:p>
        </p:txBody>
      </p:sp>
    </p:spTree>
    <p:extLst>
      <p:ext uri="{BB962C8B-B14F-4D97-AF65-F5344CB8AC3E}">
        <p14:creationId xmlns:p14="http://schemas.microsoft.com/office/powerpoint/2010/main" val="27033814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B4C290F7-F6F6-48DD-8BC2-8BC9189BF55C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6" name="Graphic 4">
            <a:extLst>
              <a:ext uri="{FF2B5EF4-FFF2-40B4-BE49-F238E27FC236}">
                <a16:creationId xmlns:a16="http://schemas.microsoft.com/office/drawing/2014/main" id="{D12ACFF1-EDDC-4770-963D-F678BD4FD5FE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A801D87-091F-414B-9B33-0D96B36AD93A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Copyright © 2021 Accenture.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All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ights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eserved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.</a:t>
            </a:r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0C977D9-FD3B-4329-A701-533FD6A25EE8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nl-BE" sz="800" smtClean="0">
                <a:solidFill>
                  <a:schemeClr val="bg1">
                    <a:alpha val="75000"/>
                  </a:schemeClr>
                </a:solidFill>
              </a:rPr>
              <a:t>16</a:t>
            </a:fld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C9DF6C-78C6-43F0-9B7F-87B36C1B5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76003"/>
            <a:ext cx="11430000" cy="990600"/>
          </a:xfrm>
        </p:spPr>
        <p:txBody>
          <a:bodyPr>
            <a:normAutofit/>
          </a:bodyPr>
          <a:lstStyle/>
          <a:p>
            <a:r>
              <a:rPr lang="en-US" b="1" dirty="0"/>
              <a:t>The Price ?</a:t>
            </a:r>
            <a:endParaRPr lang="en-US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1F99101-A1FB-4670-9C7B-34867AB858ED}"/>
              </a:ext>
            </a:extLst>
          </p:cNvPr>
          <p:cNvSpPr txBox="1"/>
          <p:nvPr/>
        </p:nvSpPr>
        <p:spPr>
          <a:xfrm>
            <a:off x="602169" y="6380076"/>
            <a:ext cx="2944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&amp; BEEODIVERSITY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D3CCC4D-2C44-4AFC-9A35-6A74D7A33B75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7965" indent="-227965"/>
            <a:r>
              <a:rPr lang="en-US" dirty="0"/>
              <a:t>The winning team</a:t>
            </a:r>
            <a:endParaRPr lang="fr-FR"/>
          </a:p>
          <a:p>
            <a:pPr marL="685165" lvl="1" indent="-227965"/>
            <a:r>
              <a:rPr lang="en-US" dirty="0"/>
              <a:t>Copy of the Circular Economy handbook </a:t>
            </a:r>
          </a:p>
          <a:p>
            <a:pPr marL="685165" lvl="1" indent="-227965"/>
            <a:r>
              <a:rPr lang="en-US" dirty="0"/>
              <a:t>Beekeeping training. </a:t>
            </a:r>
          </a:p>
          <a:p>
            <a:pPr marL="685165" lvl="1" indent="-227965"/>
            <a:endParaRPr lang="en-US" dirty="0"/>
          </a:p>
          <a:p>
            <a:pPr marL="227965" indent="-227965"/>
            <a:r>
              <a:rPr lang="en-US"/>
              <a:t>2nd Prize </a:t>
            </a:r>
            <a:endParaRPr lang="en-US" dirty="0"/>
          </a:p>
          <a:p>
            <a:pPr marL="685165" lvl="1" indent="-227965"/>
            <a:r>
              <a:rPr lang="en-US"/>
              <a:t>Box "this is more than honey"</a:t>
            </a:r>
          </a:p>
          <a:p>
            <a:pPr marL="0" indent="0">
              <a:buNone/>
            </a:pPr>
            <a:endParaRPr lang="en-US" dirty="0"/>
          </a:p>
          <a:p>
            <a:pPr marL="227965" indent="-227965"/>
            <a:r>
              <a:rPr lang="en-US" dirty="0"/>
              <a:t>Every participant </a:t>
            </a:r>
          </a:p>
          <a:p>
            <a:pPr marL="685165" lvl="1" indent="-227965"/>
            <a:r>
              <a:rPr lang="en-US" dirty="0"/>
              <a:t>Honey! </a:t>
            </a:r>
            <a:r>
              <a:rPr lang="en-US" dirty="0">
                <a:sym typeface="Wingdings" panose="05000000000000000000" pitchFamily="2" charset="2"/>
              </a:rPr>
              <a:t>  / seeds </a:t>
            </a:r>
            <a:endParaRPr lang="en-US" dirty="0"/>
          </a:p>
        </p:txBody>
      </p:sp>
      <p:pic>
        <p:nvPicPr>
          <p:cNvPr id="2050" name="Picture 2" descr="cover">
            <a:extLst>
              <a:ext uri="{FF2B5EF4-FFF2-40B4-BE49-F238E27FC236}">
                <a16:creationId xmlns:a16="http://schemas.microsoft.com/office/drawing/2014/main" id="{7884523B-9657-43DF-8271-510AA3C796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5093" y="1680914"/>
            <a:ext cx="1031960" cy="1551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2" descr="Une image contenant tasse, alimentation, dessert, miel&#10;&#10;Description générée automatiquement">
            <a:extLst>
              <a:ext uri="{FF2B5EF4-FFF2-40B4-BE49-F238E27FC236}">
                <a16:creationId xmlns:a16="http://schemas.microsoft.com/office/drawing/2014/main" id="{727F331B-25ED-4D27-B719-8349379B0D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7347" y="4842375"/>
            <a:ext cx="2408989" cy="1143668"/>
          </a:xfrm>
          <a:prstGeom prst="rect">
            <a:avLst/>
          </a:prstGeom>
        </p:spPr>
      </p:pic>
      <p:pic>
        <p:nvPicPr>
          <p:cNvPr id="13" name="Image 13" descr="Une image contenant morceau, chocolat, tranche, dessert&#10;&#10;Description générée automatiquement">
            <a:extLst>
              <a:ext uri="{FF2B5EF4-FFF2-40B4-BE49-F238E27FC236}">
                <a16:creationId xmlns:a16="http://schemas.microsoft.com/office/drawing/2014/main" id="{473BDDD6-42E5-46E9-BDE7-A4D31A8D9F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88927" y="1590929"/>
            <a:ext cx="2569411" cy="1817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9533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9C104F-EBA4-4E92-B9D3-5B9FE31433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eep Dive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68A375-D61F-4081-8B9E-7D35072693D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DE74C4-598A-46BF-9531-77E40C30DF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1249" y="2905716"/>
            <a:ext cx="2755090" cy="2444403"/>
          </a:xfrm>
          <a:prstGeom prst="rect">
            <a:avLst/>
          </a:prstGeom>
        </p:spPr>
      </p:pic>
      <p:pic>
        <p:nvPicPr>
          <p:cNvPr id="5" name="Picture 4" descr="Microsoft Word Logo">
            <a:extLst>
              <a:ext uri="{FF2B5EF4-FFF2-40B4-BE49-F238E27FC236}">
                <a16:creationId xmlns:a16="http://schemas.microsoft.com/office/drawing/2014/main" id="{4BE19251-9A80-469F-ACC2-90047DE2EC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5454" y="1760958"/>
            <a:ext cx="2460880" cy="1385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52897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flower, honeycomb&#10;&#10;Description automatically generated">
            <a:extLst>
              <a:ext uri="{FF2B5EF4-FFF2-40B4-BE49-F238E27FC236}">
                <a16:creationId xmlns:a16="http://schemas.microsoft.com/office/drawing/2014/main" id="{C5E1F7B6-9FDD-4E06-8997-A579E77219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80308" y="-130532"/>
            <a:ext cx="15608287" cy="69885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1644BCD-EF19-4680-82DF-F098D78D38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3644900" y="1965305"/>
            <a:ext cx="564592" cy="51063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223A70A-315D-4E3B-BCEC-17E0D7BF585B}"/>
              </a:ext>
            </a:extLst>
          </p:cNvPr>
          <p:cNvSpPr/>
          <p:nvPr/>
        </p:nvSpPr>
        <p:spPr>
          <a:xfrm>
            <a:off x="-3629190" y="-161429"/>
            <a:ext cx="534390" cy="510639"/>
          </a:xfrm>
          <a:prstGeom prst="rect">
            <a:avLst/>
          </a:prstGeom>
          <a:solidFill>
            <a:srgbClr val="3DBBA9"/>
          </a:solidFill>
          <a:ln>
            <a:solidFill>
              <a:srgbClr val="3DBB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DC82D4-8FC8-4BE7-89E6-F66A8791A71B}"/>
              </a:ext>
            </a:extLst>
          </p:cNvPr>
          <p:cNvSpPr/>
          <p:nvPr/>
        </p:nvSpPr>
        <p:spPr>
          <a:xfrm>
            <a:off x="-3629190" y="501610"/>
            <a:ext cx="534390" cy="510639"/>
          </a:xfrm>
          <a:prstGeom prst="rect">
            <a:avLst/>
          </a:prstGeom>
          <a:solidFill>
            <a:srgbClr val="C7E78B"/>
          </a:solidFill>
          <a:ln>
            <a:solidFill>
              <a:srgbClr val="C7E78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C852C7A-D8F6-42B2-9EE2-1EC403232C3C}"/>
              </a:ext>
            </a:extLst>
          </p:cNvPr>
          <p:cNvSpPr/>
          <p:nvPr/>
        </p:nvSpPr>
        <p:spPr>
          <a:xfrm>
            <a:off x="-3629190" y="1198358"/>
            <a:ext cx="534390" cy="510639"/>
          </a:xfrm>
          <a:prstGeom prst="rect">
            <a:avLst/>
          </a:prstGeom>
          <a:solidFill>
            <a:srgbClr val="D5F0E1"/>
          </a:solidFill>
          <a:ln>
            <a:solidFill>
              <a:srgbClr val="D5F0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D96906-FE27-45DD-BFB4-FC41B098A31C}"/>
              </a:ext>
            </a:extLst>
          </p:cNvPr>
          <p:cNvSpPr/>
          <p:nvPr/>
        </p:nvSpPr>
        <p:spPr>
          <a:xfrm>
            <a:off x="-3644900" y="2662053"/>
            <a:ext cx="534390" cy="510639"/>
          </a:xfrm>
          <a:prstGeom prst="rect">
            <a:avLst/>
          </a:prstGeom>
          <a:solidFill>
            <a:srgbClr val="DBE4AA"/>
          </a:solidFill>
          <a:ln>
            <a:solidFill>
              <a:srgbClr val="DBE4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BD06080-3B71-4304-85C7-65C916235521}"/>
              </a:ext>
            </a:extLst>
          </p:cNvPr>
          <p:cNvSpPr/>
          <p:nvPr/>
        </p:nvSpPr>
        <p:spPr>
          <a:xfrm>
            <a:off x="-3644900" y="3429000"/>
            <a:ext cx="534390" cy="510639"/>
          </a:xfrm>
          <a:prstGeom prst="rect">
            <a:avLst/>
          </a:prstGeom>
          <a:solidFill>
            <a:srgbClr val="DCEDCC"/>
          </a:solidFill>
          <a:ln>
            <a:solidFill>
              <a:srgbClr val="DCED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47E1DE-9DFF-4FA7-AECA-7D0EF022D721}"/>
              </a:ext>
            </a:extLst>
          </p:cNvPr>
          <p:cNvSpPr txBox="1"/>
          <p:nvPr/>
        </p:nvSpPr>
        <p:spPr>
          <a:xfrm>
            <a:off x="496410" y="1661728"/>
            <a:ext cx="7136464" cy="911907"/>
          </a:xfrm>
          <a:prstGeom prst="rect">
            <a:avLst/>
          </a:prstGeom>
          <a:effectLst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prstClr val="black"/>
                  </a:outerShdw>
                </a:effectLst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Have fun!!!!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50800" dir="5400000" algn="ctr" rotWithShape="0">
                  <a:prstClr val="black"/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monstrate Data </a:t>
            </a:r>
            <a:r>
              <a:rPr kumimoji="0" lang="en-US" sz="2800" b="0" i="0" u="none" strike="noStrike" kern="1200" cap="none" spc="-15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ienc</a:t>
            </a:r>
            <a:r>
              <a:rPr lang="en-US" sz="2800" spc="-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n predict a </a:t>
            </a:r>
            <a:r>
              <a:rPr kumimoji="0" lang="en-US" sz="2800" b="0" i="0" u="none" strike="noStrike" kern="1200" cap="none" spc="-15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ron</a:t>
            </a:r>
            <a:r>
              <a:rPr lang="en-US" sz="2800" spc="-1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eco-score</a:t>
            </a:r>
            <a:endParaRPr kumimoji="0" lang="en-US" sz="2800" b="0" i="0" u="none" strike="noStrike" kern="1200" cap="none" spc="-15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1" name="Picture 20" descr="A close up of a logo&#10;&#10;Description automatically generated">
            <a:extLst>
              <a:ext uri="{FF2B5EF4-FFF2-40B4-BE49-F238E27FC236}">
                <a16:creationId xmlns:a16="http://schemas.microsoft.com/office/drawing/2014/main" id="{0F8B23AD-338F-4414-A4C5-DE451A05C20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71" y="4740318"/>
            <a:ext cx="2439228" cy="182942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02B33D0-A3E1-4350-BB62-4CE347984A48}"/>
              </a:ext>
            </a:extLst>
          </p:cNvPr>
          <p:cNvSpPr/>
          <p:nvPr/>
        </p:nvSpPr>
        <p:spPr>
          <a:xfrm>
            <a:off x="0" y="6496493"/>
            <a:ext cx="382772" cy="361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fr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59D28A49-FABC-4558-BE70-42F585C99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4290" y="6445136"/>
            <a:ext cx="4922520" cy="107722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pyright © 2020 Accenture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4DD9533-FE98-4740-A5B5-3AD665D6EF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825" y="5901670"/>
            <a:ext cx="2086266" cy="41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2353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69F7D3-1B9F-41C2-9A1E-C86D9E54C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91034D-6775-4B06-84BB-0A9B536EFE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Introduction of </a:t>
            </a:r>
            <a:r>
              <a:rPr lang="en-US" dirty="0" err="1"/>
              <a:t>BeeOImpact</a:t>
            </a:r>
            <a:r>
              <a:rPr lang="en-US" dirty="0"/>
              <a:t> – 10” ( Michaël) </a:t>
            </a:r>
          </a:p>
          <a:p>
            <a:r>
              <a:rPr lang="en-US" dirty="0"/>
              <a:t>Hackathon Objectives – 5”  (Stijn) </a:t>
            </a:r>
          </a:p>
          <a:p>
            <a:r>
              <a:rPr lang="en-US" dirty="0"/>
              <a:t>Teaming &amp; Organization – 15”  (Stijn) </a:t>
            </a:r>
          </a:p>
          <a:p>
            <a:r>
              <a:rPr lang="en-US" dirty="0"/>
              <a:t>Dataset Introduction – 10” (Sven)</a:t>
            </a:r>
          </a:p>
          <a:p>
            <a:r>
              <a:rPr lang="en-US" dirty="0"/>
              <a:t>Data Science specific considerations – 15” (Adeline) </a:t>
            </a:r>
          </a:p>
          <a:p>
            <a:r>
              <a:rPr lang="en-US" dirty="0"/>
              <a:t>The price!  (Michaël) </a:t>
            </a:r>
          </a:p>
          <a:p>
            <a:r>
              <a:rPr lang="en-US" dirty="0"/>
              <a:t>DEEP DIVE into the Data Set (Sven) </a:t>
            </a:r>
          </a:p>
        </p:txBody>
      </p:sp>
    </p:spTree>
    <p:extLst>
      <p:ext uri="{BB962C8B-B14F-4D97-AF65-F5344CB8AC3E}">
        <p14:creationId xmlns:p14="http://schemas.microsoft.com/office/powerpoint/2010/main" val="657534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43E7317-13E7-41FD-9EBB-B51D7BF9BA31}"/>
              </a:ext>
            </a:extLst>
          </p:cNvPr>
          <p:cNvSpPr/>
          <p:nvPr/>
        </p:nvSpPr>
        <p:spPr>
          <a:xfrm>
            <a:off x="7532629" y="2430881"/>
            <a:ext cx="49225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r>
              <a:rPr lang="en-US" sz="1400" b="1" dirty="0"/>
              <a:t>Powered by a EU map database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8DF7457-F83E-432A-B401-25CD138FE3A4}"/>
              </a:ext>
            </a:extLst>
          </p:cNvPr>
          <p:cNvSpPr txBox="1">
            <a:spLocks/>
          </p:cNvSpPr>
          <p:nvPr/>
        </p:nvSpPr>
        <p:spPr>
          <a:xfrm>
            <a:off x="376317" y="222250"/>
            <a:ext cx="11453733" cy="7683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rgbClr val="3DBBA9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4800" dirty="0">
                <a:solidFill>
                  <a:schemeClr val="tx1"/>
                </a:solidFill>
                <a:latin typeface="Graphik" panose="020B0503030202060203" pitchFamily="34" charset="0"/>
              </a:rPr>
              <a:t>Introduction of </a:t>
            </a:r>
            <a:r>
              <a:rPr lang="en-US" sz="4800" dirty="0" err="1">
                <a:solidFill>
                  <a:schemeClr val="tx1"/>
                </a:solidFill>
                <a:latin typeface="Graphik" panose="020B0503030202060203" pitchFamily="34" charset="0"/>
              </a:rPr>
              <a:t>BeeOImpact</a:t>
            </a:r>
            <a:endParaRPr lang="en-US" sz="1800" dirty="0">
              <a:solidFill>
                <a:schemeClr val="tx1"/>
              </a:solidFill>
              <a:latin typeface="Graphik" panose="020B050303020206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421AF7F-4003-4ECD-977A-B7EB022884DA}"/>
              </a:ext>
            </a:extLst>
          </p:cNvPr>
          <p:cNvSpPr/>
          <p:nvPr/>
        </p:nvSpPr>
        <p:spPr>
          <a:xfrm>
            <a:off x="415620" y="878840"/>
            <a:ext cx="1080179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/>
              <a:t>An assessment and </a:t>
            </a:r>
            <a:r>
              <a:rPr lang="en-US" sz="2800" dirty="0" err="1"/>
              <a:t>prioritisation</a:t>
            </a:r>
            <a:r>
              <a:rPr lang="en-US" sz="2800" dirty="0"/>
              <a:t> of all your sites in terms of risks and improvement measures related to biodiversity and pollution.</a:t>
            </a: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D650B412-2C0F-4C84-AC8A-2E1010419BE2}"/>
              </a:ext>
            </a:extLst>
          </p:cNvPr>
          <p:cNvSpPr txBox="1">
            <a:spLocks/>
          </p:cNvSpPr>
          <p:nvPr/>
        </p:nvSpPr>
        <p:spPr>
          <a:xfrm>
            <a:off x="6284290" y="6445136"/>
            <a:ext cx="4922520" cy="1077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2020 Accenture. All rights reserved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D5375CB-5298-46ED-9921-4C2F2F284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620" y="6362700"/>
            <a:ext cx="2085340" cy="42328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B4C70CD-1C51-4870-A5E6-EF47801206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39120" y="6248316"/>
            <a:ext cx="1171830" cy="394596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9091E278-2619-4865-A4C6-E6E29F6E6885}"/>
              </a:ext>
            </a:extLst>
          </p:cNvPr>
          <p:cNvSpPr/>
          <p:nvPr/>
        </p:nvSpPr>
        <p:spPr>
          <a:xfrm>
            <a:off x="10552875" y="6135256"/>
            <a:ext cx="1544320" cy="619760"/>
          </a:xfrm>
          <a:prstGeom prst="rect">
            <a:avLst/>
          </a:prstGeom>
          <a:solidFill>
            <a:schemeClr val="bg1">
              <a:alpha val="42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pic>
        <p:nvPicPr>
          <p:cNvPr id="15" name="Picture 14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EE9B7BB-E6CB-4C15-954F-41F68F7F469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3" b="2998"/>
          <a:stretch/>
        </p:blipFill>
        <p:spPr>
          <a:xfrm>
            <a:off x="461210" y="2294653"/>
            <a:ext cx="6404367" cy="360634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5962473-C878-4BB8-8E7B-E33620A9BF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03551" y="3273228"/>
            <a:ext cx="1806391" cy="1476511"/>
          </a:xfrm>
          <a:prstGeom prst="rect">
            <a:avLst/>
          </a:prstGeom>
        </p:spPr>
      </p:pic>
      <p:pic>
        <p:nvPicPr>
          <p:cNvPr id="1026" name="Picture 2" descr="Europese Unie - Wikipedia">
            <a:extLst>
              <a:ext uri="{FF2B5EF4-FFF2-40B4-BE49-F238E27FC236}">
                <a16:creationId xmlns:a16="http://schemas.microsoft.com/office/drawing/2014/main" id="{0B3C7A75-C332-4157-A7CF-97D4B1E874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1813" y="3569724"/>
            <a:ext cx="1327691" cy="883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6870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B4C290F7-F6F6-48DD-8BC2-8BC9189BF55C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6" name="Graphic 4">
            <a:extLst>
              <a:ext uri="{FF2B5EF4-FFF2-40B4-BE49-F238E27FC236}">
                <a16:creationId xmlns:a16="http://schemas.microsoft.com/office/drawing/2014/main" id="{D12ACFF1-EDDC-4770-963D-F678BD4FD5FE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A801D87-091F-414B-9B33-0D96B36AD93A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</a:t>
            </a:r>
            <a:r>
              <a:rPr kumimoji="0" lang="nl-BE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ll</a:t>
            </a:r>
            <a:r>
              <a:rPr kumimoji="0" lang="nl-BE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nl-BE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ights</a:t>
            </a:r>
            <a:r>
              <a:rPr kumimoji="0" lang="nl-BE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nl-BE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eserved</a:t>
            </a:r>
            <a:r>
              <a:rPr kumimoji="0" lang="nl-BE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.</a:t>
            </a: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alpha val="75000"/>
                </a:prst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0C977D9-FD3B-4329-A701-533FD6A25EE8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nl-BE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alpha val="75000"/>
                </a:prst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C9DF6C-78C6-43F0-9B7F-87B36C1B5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76003"/>
            <a:ext cx="11430000" cy="990600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Hackathon Objectives </a:t>
            </a:r>
            <a:br>
              <a:rPr lang="en-US" dirty="0"/>
            </a:br>
            <a:r>
              <a:rPr lang="en-US" dirty="0"/>
              <a:t>We need to be able to calculate an “Eco Score” without having bees on si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8115EAA-31F0-40E4-A270-8CE08DD735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8538" y="4684609"/>
            <a:ext cx="7753350" cy="1247775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020D9299-41E3-413A-AF84-1F5A4B6B9AB0}"/>
              </a:ext>
            </a:extLst>
          </p:cNvPr>
          <p:cNvGrpSpPr/>
          <p:nvPr/>
        </p:nvGrpSpPr>
        <p:grpSpPr>
          <a:xfrm>
            <a:off x="2300131" y="2053875"/>
            <a:ext cx="2317272" cy="1642520"/>
            <a:chOff x="3494824" y="2170014"/>
            <a:chExt cx="2317272" cy="1642520"/>
          </a:xfrm>
        </p:grpSpPr>
        <p:sp>
          <p:nvSpPr>
            <p:cNvPr id="11" name="Text Placeholder 17">
              <a:extLst>
                <a:ext uri="{FF2B5EF4-FFF2-40B4-BE49-F238E27FC236}">
                  <a16:creationId xmlns:a16="http://schemas.microsoft.com/office/drawing/2014/main" id="{CF985764-37E4-4BA1-B0F2-796A3578DCB5}"/>
                </a:ext>
              </a:extLst>
            </p:cNvPr>
            <p:cNvSpPr txBox="1">
              <a:spLocks/>
            </p:cNvSpPr>
            <p:nvPr/>
          </p:nvSpPr>
          <p:spPr>
            <a:xfrm>
              <a:off x="3494824" y="2852444"/>
              <a:ext cx="2317272" cy="393700"/>
            </a:xfrm>
            <a:prstGeom prst="rect">
              <a:avLst/>
            </a:prstGeom>
          </p:spPr>
          <p:txBody>
            <a:bodyPr/>
            <a:lstStyle>
              <a:lvl1pPr marL="0" indent="0" algn="l" defTabSz="914377" rtl="0" eaLnBrk="1" latinLnBrk="0" hangingPunct="1">
                <a:lnSpc>
                  <a:spcPct val="85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b="1" kern="1200" cap="all" baseline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37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377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3034" indent="-169858" algn="l" defTabSz="914377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46066" indent="-177796" algn="l" defTabSz="914377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Graphik" panose="020B0503030202060203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12750" indent="-17303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377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None/>
                <a:defRPr sz="1200" b="1" kern="1200" cap="all" baseline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7pPr>
              <a:lvl8pPr marL="0" indent="0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377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7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all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Heavy metals</a:t>
              </a:r>
            </a:p>
          </p:txBody>
        </p:sp>
        <p:grpSp>
          <p:nvGrpSpPr>
            <p:cNvPr id="12" name="Group 40">
              <a:extLst>
                <a:ext uri="{FF2B5EF4-FFF2-40B4-BE49-F238E27FC236}">
                  <a16:creationId xmlns:a16="http://schemas.microsoft.com/office/drawing/2014/main" id="{50BE3B86-D0F5-4B67-BFA2-4EA53268C9F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403637" y="2170014"/>
              <a:ext cx="499646" cy="499646"/>
              <a:chOff x="3630" y="646"/>
              <a:chExt cx="428" cy="428"/>
            </a:xfrm>
            <a:solidFill>
              <a:srgbClr val="2EBEB9"/>
            </a:solidFill>
          </p:grpSpPr>
          <p:sp>
            <p:nvSpPr>
              <p:cNvPr id="14" name="Freeform 41">
                <a:extLst>
                  <a:ext uri="{FF2B5EF4-FFF2-40B4-BE49-F238E27FC236}">
                    <a16:creationId xmlns:a16="http://schemas.microsoft.com/office/drawing/2014/main" id="{BB1CDF7E-63A4-4F17-8625-F29F90C18A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1" y="646"/>
                <a:ext cx="194" cy="162"/>
              </a:xfrm>
              <a:custGeom>
                <a:avLst/>
                <a:gdLst>
                  <a:gd name="T0" fmla="*/ 40 w 131"/>
                  <a:gd name="T1" fmla="*/ 109 h 109"/>
                  <a:gd name="T2" fmla="*/ 12 w 131"/>
                  <a:gd name="T3" fmla="*/ 98 h 109"/>
                  <a:gd name="T4" fmla="*/ 11 w 131"/>
                  <a:gd name="T5" fmla="*/ 58 h 109"/>
                  <a:gd name="T6" fmla="*/ 5 w 131"/>
                  <a:gd name="T7" fmla="*/ 18 h 109"/>
                  <a:gd name="T8" fmla="*/ 37 w 131"/>
                  <a:gd name="T9" fmla="*/ 1 h 109"/>
                  <a:gd name="T10" fmla="*/ 37 w 131"/>
                  <a:gd name="T11" fmla="*/ 1 h 109"/>
                  <a:gd name="T12" fmla="*/ 83 w 131"/>
                  <a:gd name="T13" fmla="*/ 15 h 109"/>
                  <a:gd name="T14" fmla="*/ 125 w 131"/>
                  <a:gd name="T15" fmla="*/ 30 h 109"/>
                  <a:gd name="T16" fmla="*/ 129 w 131"/>
                  <a:gd name="T17" fmla="*/ 32 h 109"/>
                  <a:gd name="T18" fmla="*/ 130 w 131"/>
                  <a:gd name="T19" fmla="*/ 37 h 109"/>
                  <a:gd name="T20" fmla="*/ 47 w 131"/>
                  <a:gd name="T21" fmla="*/ 109 h 109"/>
                  <a:gd name="T22" fmla="*/ 40 w 131"/>
                  <a:gd name="T23" fmla="*/ 109 h 109"/>
                  <a:gd name="T24" fmla="*/ 38 w 131"/>
                  <a:gd name="T25" fmla="*/ 13 h 109"/>
                  <a:gd name="T26" fmla="*/ 16 w 131"/>
                  <a:gd name="T27" fmla="*/ 24 h 109"/>
                  <a:gd name="T28" fmla="*/ 23 w 131"/>
                  <a:gd name="T29" fmla="*/ 54 h 109"/>
                  <a:gd name="T30" fmla="*/ 24 w 131"/>
                  <a:gd name="T31" fmla="*/ 59 h 109"/>
                  <a:gd name="T32" fmla="*/ 21 w 131"/>
                  <a:gd name="T33" fmla="*/ 91 h 109"/>
                  <a:gd name="T34" fmla="*/ 46 w 131"/>
                  <a:gd name="T35" fmla="*/ 97 h 109"/>
                  <a:gd name="T36" fmla="*/ 116 w 131"/>
                  <a:gd name="T37" fmla="*/ 40 h 109"/>
                  <a:gd name="T38" fmla="*/ 77 w 131"/>
                  <a:gd name="T39" fmla="*/ 25 h 109"/>
                  <a:gd name="T40" fmla="*/ 38 w 131"/>
                  <a:gd name="T41" fmla="*/ 13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1" h="109">
                    <a:moveTo>
                      <a:pt x="40" y="109"/>
                    </a:moveTo>
                    <a:cubicBezTo>
                      <a:pt x="27" y="109"/>
                      <a:pt x="17" y="105"/>
                      <a:pt x="12" y="98"/>
                    </a:cubicBezTo>
                    <a:cubicBezTo>
                      <a:pt x="5" y="89"/>
                      <a:pt x="5" y="76"/>
                      <a:pt x="11" y="58"/>
                    </a:cubicBezTo>
                    <a:cubicBezTo>
                      <a:pt x="2" y="42"/>
                      <a:pt x="0" y="29"/>
                      <a:pt x="5" y="18"/>
                    </a:cubicBezTo>
                    <a:cubicBezTo>
                      <a:pt x="10" y="9"/>
                      <a:pt x="21" y="3"/>
                      <a:pt x="37" y="1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54" y="0"/>
                      <a:pt x="68" y="7"/>
                      <a:pt x="83" y="15"/>
                    </a:cubicBezTo>
                    <a:cubicBezTo>
                      <a:pt x="95" y="21"/>
                      <a:pt x="109" y="28"/>
                      <a:pt x="125" y="30"/>
                    </a:cubicBezTo>
                    <a:cubicBezTo>
                      <a:pt x="127" y="30"/>
                      <a:pt x="128" y="31"/>
                      <a:pt x="129" y="32"/>
                    </a:cubicBezTo>
                    <a:cubicBezTo>
                      <a:pt x="131" y="34"/>
                      <a:pt x="131" y="35"/>
                      <a:pt x="130" y="37"/>
                    </a:cubicBezTo>
                    <a:cubicBezTo>
                      <a:pt x="120" y="71"/>
                      <a:pt x="75" y="106"/>
                      <a:pt x="47" y="109"/>
                    </a:cubicBezTo>
                    <a:cubicBezTo>
                      <a:pt x="44" y="109"/>
                      <a:pt x="42" y="109"/>
                      <a:pt x="40" y="109"/>
                    </a:cubicBezTo>
                    <a:close/>
                    <a:moveTo>
                      <a:pt x="38" y="13"/>
                    </a:moveTo>
                    <a:cubicBezTo>
                      <a:pt x="31" y="14"/>
                      <a:pt x="20" y="16"/>
                      <a:pt x="16" y="24"/>
                    </a:cubicBezTo>
                    <a:cubicBezTo>
                      <a:pt x="13" y="30"/>
                      <a:pt x="15" y="41"/>
                      <a:pt x="23" y="54"/>
                    </a:cubicBezTo>
                    <a:cubicBezTo>
                      <a:pt x="24" y="56"/>
                      <a:pt x="24" y="58"/>
                      <a:pt x="24" y="59"/>
                    </a:cubicBezTo>
                    <a:cubicBezTo>
                      <a:pt x="18" y="74"/>
                      <a:pt x="17" y="85"/>
                      <a:pt x="21" y="91"/>
                    </a:cubicBezTo>
                    <a:cubicBezTo>
                      <a:pt x="26" y="97"/>
                      <a:pt x="37" y="98"/>
                      <a:pt x="46" y="97"/>
                    </a:cubicBezTo>
                    <a:cubicBezTo>
                      <a:pt x="67" y="95"/>
                      <a:pt x="104" y="67"/>
                      <a:pt x="116" y="40"/>
                    </a:cubicBezTo>
                    <a:cubicBezTo>
                      <a:pt x="101" y="38"/>
                      <a:pt x="88" y="31"/>
                      <a:pt x="77" y="25"/>
                    </a:cubicBezTo>
                    <a:cubicBezTo>
                      <a:pt x="63" y="18"/>
                      <a:pt x="52" y="12"/>
                      <a:pt x="38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15" name="Freeform 42">
                <a:extLst>
                  <a:ext uri="{FF2B5EF4-FFF2-40B4-BE49-F238E27FC236}">
                    <a16:creationId xmlns:a16="http://schemas.microsoft.com/office/drawing/2014/main" id="{268DD1DD-E787-4FC9-9A6E-65C46273C5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9" y="694"/>
                <a:ext cx="211" cy="89"/>
              </a:xfrm>
              <a:custGeom>
                <a:avLst/>
                <a:gdLst>
                  <a:gd name="T0" fmla="*/ 7 w 142"/>
                  <a:gd name="T1" fmla="*/ 60 h 60"/>
                  <a:gd name="T2" fmla="*/ 2 w 142"/>
                  <a:gd name="T3" fmla="*/ 57 h 60"/>
                  <a:gd name="T4" fmla="*/ 4 w 142"/>
                  <a:gd name="T5" fmla="*/ 49 h 60"/>
                  <a:gd name="T6" fmla="*/ 137 w 142"/>
                  <a:gd name="T7" fmla="*/ 12 h 60"/>
                  <a:gd name="T8" fmla="*/ 142 w 142"/>
                  <a:gd name="T9" fmla="*/ 19 h 60"/>
                  <a:gd name="T10" fmla="*/ 134 w 142"/>
                  <a:gd name="T11" fmla="*/ 23 h 60"/>
                  <a:gd name="T12" fmla="*/ 10 w 142"/>
                  <a:gd name="T13" fmla="*/ 59 h 60"/>
                  <a:gd name="T14" fmla="*/ 7 w 142"/>
                  <a:gd name="T1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" h="60">
                    <a:moveTo>
                      <a:pt x="7" y="60"/>
                    </a:moveTo>
                    <a:cubicBezTo>
                      <a:pt x="5" y="60"/>
                      <a:pt x="3" y="59"/>
                      <a:pt x="2" y="57"/>
                    </a:cubicBezTo>
                    <a:cubicBezTo>
                      <a:pt x="0" y="54"/>
                      <a:pt x="1" y="51"/>
                      <a:pt x="4" y="49"/>
                    </a:cubicBezTo>
                    <a:cubicBezTo>
                      <a:pt x="7" y="47"/>
                      <a:pt x="90" y="0"/>
                      <a:pt x="137" y="12"/>
                    </a:cubicBezTo>
                    <a:cubicBezTo>
                      <a:pt x="140" y="12"/>
                      <a:pt x="142" y="16"/>
                      <a:pt x="142" y="19"/>
                    </a:cubicBezTo>
                    <a:cubicBezTo>
                      <a:pt x="141" y="22"/>
                      <a:pt x="138" y="24"/>
                      <a:pt x="134" y="23"/>
                    </a:cubicBezTo>
                    <a:cubicBezTo>
                      <a:pt x="92" y="13"/>
                      <a:pt x="11" y="59"/>
                      <a:pt x="10" y="59"/>
                    </a:cubicBezTo>
                    <a:cubicBezTo>
                      <a:pt x="9" y="60"/>
                      <a:pt x="8" y="60"/>
                      <a:pt x="7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16" name="Freeform 43">
                <a:extLst>
                  <a:ext uri="{FF2B5EF4-FFF2-40B4-BE49-F238E27FC236}">
                    <a16:creationId xmlns:a16="http://schemas.microsoft.com/office/drawing/2014/main" id="{D00F2B23-A8FC-4997-AAE7-2B5EB7B2B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5" y="967"/>
                <a:ext cx="44" cy="18"/>
              </a:xfrm>
              <a:custGeom>
                <a:avLst/>
                <a:gdLst>
                  <a:gd name="T0" fmla="*/ 24 w 30"/>
                  <a:gd name="T1" fmla="*/ 12 h 12"/>
                  <a:gd name="T2" fmla="*/ 6 w 30"/>
                  <a:gd name="T3" fmla="*/ 12 h 12"/>
                  <a:gd name="T4" fmla="*/ 0 w 30"/>
                  <a:gd name="T5" fmla="*/ 6 h 12"/>
                  <a:gd name="T6" fmla="*/ 6 w 30"/>
                  <a:gd name="T7" fmla="*/ 0 h 12"/>
                  <a:gd name="T8" fmla="*/ 24 w 30"/>
                  <a:gd name="T9" fmla="*/ 0 h 12"/>
                  <a:gd name="T10" fmla="*/ 30 w 30"/>
                  <a:gd name="T11" fmla="*/ 6 h 12"/>
                  <a:gd name="T12" fmla="*/ 24 w 3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2">
                    <a:moveTo>
                      <a:pt x="2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7" y="0"/>
                      <a:pt x="30" y="3"/>
                      <a:pt x="30" y="6"/>
                    </a:cubicBezTo>
                    <a:cubicBezTo>
                      <a:pt x="30" y="9"/>
                      <a:pt x="27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17" name="Freeform 44">
                <a:extLst>
                  <a:ext uri="{FF2B5EF4-FFF2-40B4-BE49-F238E27FC236}">
                    <a16:creationId xmlns:a16="http://schemas.microsoft.com/office/drawing/2014/main" id="{3C17CD25-6B26-40F2-BEF6-1034CEF645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5" y="1003"/>
                <a:ext cx="44" cy="18"/>
              </a:xfrm>
              <a:custGeom>
                <a:avLst/>
                <a:gdLst>
                  <a:gd name="T0" fmla="*/ 24 w 30"/>
                  <a:gd name="T1" fmla="*/ 12 h 12"/>
                  <a:gd name="T2" fmla="*/ 6 w 30"/>
                  <a:gd name="T3" fmla="*/ 12 h 12"/>
                  <a:gd name="T4" fmla="*/ 0 w 30"/>
                  <a:gd name="T5" fmla="*/ 6 h 12"/>
                  <a:gd name="T6" fmla="*/ 6 w 30"/>
                  <a:gd name="T7" fmla="*/ 0 h 12"/>
                  <a:gd name="T8" fmla="*/ 24 w 30"/>
                  <a:gd name="T9" fmla="*/ 0 h 12"/>
                  <a:gd name="T10" fmla="*/ 30 w 30"/>
                  <a:gd name="T11" fmla="*/ 6 h 12"/>
                  <a:gd name="T12" fmla="*/ 24 w 3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2">
                    <a:moveTo>
                      <a:pt x="2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7" y="0"/>
                      <a:pt x="30" y="3"/>
                      <a:pt x="30" y="6"/>
                    </a:cubicBezTo>
                    <a:cubicBezTo>
                      <a:pt x="30" y="9"/>
                      <a:pt x="27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18" name="Freeform 45">
                <a:extLst>
                  <a:ext uri="{FF2B5EF4-FFF2-40B4-BE49-F238E27FC236}">
                    <a16:creationId xmlns:a16="http://schemas.microsoft.com/office/drawing/2014/main" id="{A54781F6-91C9-41FB-B0C9-163BAAF95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2" y="967"/>
                <a:ext cx="44" cy="18"/>
              </a:xfrm>
              <a:custGeom>
                <a:avLst/>
                <a:gdLst>
                  <a:gd name="T0" fmla="*/ 24 w 30"/>
                  <a:gd name="T1" fmla="*/ 12 h 12"/>
                  <a:gd name="T2" fmla="*/ 6 w 30"/>
                  <a:gd name="T3" fmla="*/ 12 h 12"/>
                  <a:gd name="T4" fmla="*/ 0 w 30"/>
                  <a:gd name="T5" fmla="*/ 6 h 12"/>
                  <a:gd name="T6" fmla="*/ 6 w 30"/>
                  <a:gd name="T7" fmla="*/ 0 h 12"/>
                  <a:gd name="T8" fmla="*/ 24 w 30"/>
                  <a:gd name="T9" fmla="*/ 0 h 12"/>
                  <a:gd name="T10" fmla="*/ 30 w 30"/>
                  <a:gd name="T11" fmla="*/ 6 h 12"/>
                  <a:gd name="T12" fmla="*/ 24 w 3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2">
                    <a:moveTo>
                      <a:pt x="2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7" y="0"/>
                      <a:pt x="30" y="3"/>
                      <a:pt x="30" y="6"/>
                    </a:cubicBezTo>
                    <a:cubicBezTo>
                      <a:pt x="30" y="9"/>
                      <a:pt x="27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19" name="Freeform 46">
                <a:extLst>
                  <a:ext uri="{FF2B5EF4-FFF2-40B4-BE49-F238E27FC236}">
                    <a16:creationId xmlns:a16="http://schemas.microsoft.com/office/drawing/2014/main" id="{28E025F2-56F1-4BA2-807C-1249C765BF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2" y="1003"/>
                <a:ext cx="44" cy="18"/>
              </a:xfrm>
              <a:custGeom>
                <a:avLst/>
                <a:gdLst>
                  <a:gd name="T0" fmla="*/ 24 w 30"/>
                  <a:gd name="T1" fmla="*/ 12 h 12"/>
                  <a:gd name="T2" fmla="*/ 6 w 30"/>
                  <a:gd name="T3" fmla="*/ 12 h 12"/>
                  <a:gd name="T4" fmla="*/ 0 w 30"/>
                  <a:gd name="T5" fmla="*/ 6 h 12"/>
                  <a:gd name="T6" fmla="*/ 6 w 30"/>
                  <a:gd name="T7" fmla="*/ 0 h 12"/>
                  <a:gd name="T8" fmla="*/ 24 w 30"/>
                  <a:gd name="T9" fmla="*/ 0 h 12"/>
                  <a:gd name="T10" fmla="*/ 30 w 30"/>
                  <a:gd name="T11" fmla="*/ 6 h 12"/>
                  <a:gd name="T12" fmla="*/ 24 w 3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2">
                    <a:moveTo>
                      <a:pt x="2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7" y="0"/>
                      <a:pt x="30" y="3"/>
                      <a:pt x="30" y="6"/>
                    </a:cubicBezTo>
                    <a:cubicBezTo>
                      <a:pt x="30" y="9"/>
                      <a:pt x="27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20" name="Freeform 47">
                <a:extLst>
                  <a:ext uri="{FF2B5EF4-FFF2-40B4-BE49-F238E27FC236}">
                    <a16:creationId xmlns:a16="http://schemas.microsoft.com/office/drawing/2014/main" id="{55D54A14-E857-4589-BAF1-1325EE3841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9" y="967"/>
                <a:ext cx="44" cy="18"/>
              </a:xfrm>
              <a:custGeom>
                <a:avLst/>
                <a:gdLst>
                  <a:gd name="T0" fmla="*/ 24 w 30"/>
                  <a:gd name="T1" fmla="*/ 12 h 12"/>
                  <a:gd name="T2" fmla="*/ 6 w 30"/>
                  <a:gd name="T3" fmla="*/ 12 h 12"/>
                  <a:gd name="T4" fmla="*/ 0 w 30"/>
                  <a:gd name="T5" fmla="*/ 6 h 12"/>
                  <a:gd name="T6" fmla="*/ 6 w 30"/>
                  <a:gd name="T7" fmla="*/ 0 h 12"/>
                  <a:gd name="T8" fmla="*/ 24 w 30"/>
                  <a:gd name="T9" fmla="*/ 0 h 12"/>
                  <a:gd name="T10" fmla="*/ 30 w 30"/>
                  <a:gd name="T11" fmla="*/ 6 h 12"/>
                  <a:gd name="T12" fmla="*/ 24 w 3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2">
                    <a:moveTo>
                      <a:pt x="2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7" y="0"/>
                      <a:pt x="30" y="3"/>
                      <a:pt x="30" y="6"/>
                    </a:cubicBezTo>
                    <a:cubicBezTo>
                      <a:pt x="30" y="9"/>
                      <a:pt x="27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21" name="Freeform 48">
                <a:extLst>
                  <a:ext uri="{FF2B5EF4-FFF2-40B4-BE49-F238E27FC236}">
                    <a16:creationId xmlns:a16="http://schemas.microsoft.com/office/drawing/2014/main" id="{57B9AD8A-D0A3-4A34-80C7-1B0597B37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9" y="1003"/>
                <a:ext cx="44" cy="18"/>
              </a:xfrm>
              <a:custGeom>
                <a:avLst/>
                <a:gdLst>
                  <a:gd name="T0" fmla="*/ 24 w 30"/>
                  <a:gd name="T1" fmla="*/ 12 h 12"/>
                  <a:gd name="T2" fmla="*/ 6 w 30"/>
                  <a:gd name="T3" fmla="*/ 12 h 12"/>
                  <a:gd name="T4" fmla="*/ 0 w 30"/>
                  <a:gd name="T5" fmla="*/ 6 h 12"/>
                  <a:gd name="T6" fmla="*/ 6 w 30"/>
                  <a:gd name="T7" fmla="*/ 0 h 12"/>
                  <a:gd name="T8" fmla="*/ 24 w 30"/>
                  <a:gd name="T9" fmla="*/ 0 h 12"/>
                  <a:gd name="T10" fmla="*/ 30 w 30"/>
                  <a:gd name="T11" fmla="*/ 6 h 12"/>
                  <a:gd name="T12" fmla="*/ 24 w 3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2">
                    <a:moveTo>
                      <a:pt x="2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7" y="0"/>
                      <a:pt x="30" y="3"/>
                      <a:pt x="30" y="6"/>
                    </a:cubicBezTo>
                    <a:cubicBezTo>
                      <a:pt x="30" y="9"/>
                      <a:pt x="27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22" name="Freeform 49">
                <a:extLst>
                  <a:ext uri="{FF2B5EF4-FFF2-40B4-BE49-F238E27FC236}">
                    <a16:creationId xmlns:a16="http://schemas.microsoft.com/office/drawing/2014/main" id="{DC1E38C5-C995-4666-9FD1-DB0F0BEA37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30" y="735"/>
                <a:ext cx="428" cy="339"/>
              </a:xfrm>
              <a:custGeom>
                <a:avLst/>
                <a:gdLst>
                  <a:gd name="T0" fmla="*/ 282 w 288"/>
                  <a:gd name="T1" fmla="*/ 228 h 228"/>
                  <a:gd name="T2" fmla="*/ 6 w 288"/>
                  <a:gd name="T3" fmla="*/ 228 h 228"/>
                  <a:gd name="T4" fmla="*/ 0 w 288"/>
                  <a:gd name="T5" fmla="*/ 222 h 228"/>
                  <a:gd name="T6" fmla="*/ 0 w 288"/>
                  <a:gd name="T7" fmla="*/ 128 h 228"/>
                  <a:gd name="T8" fmla="*/ 0 w 288"/>
                  <a:gd name="T9" fmla="*/ 127 h 228"/>
                  <a:gd name="T10" fmla="*/ 17 w 288"/>
                  <a:gd name="T11" fmla="*/ 5 h 228"/>
                  <a:gd name="T12" fmla="*/ 23 w 288"/>
                  <a:gd name="T13" fmla="*/ 0 h 228"/>
                  <a:gd name="T14" fmla="*/ 52 w 288"/>
                  <a:gd name="T15" fmla="*/ 0 h 228"/>
                  <a:gd name="T16" fmla="*/ 58 w 288"/>
                  <a:gd name="T17" fmla="*/ 5 h 228"/>
                  <a:gd name="T18" fmla="*/ 79 w 288"/>
                  <a:gd name="T19" fmla="*/ 107 h 228"/>
                  <a:gd name="T20" fmla="*/ 135 w 288"/>
                  <a:gd name="T21" fmla="*/ 71 h 228"/>
                  <a:gd name="T22" fmla="*/ 141 w 288"/>
                  <a:gd name="T23" fmla="*/ 70 h 228"/>
                  <a:gd name="T24" fmla="*/ 144 w 288"/>
                  <a:gd name="T25" fmla="*/ 76 h 228"/>
                  <a:gd name="T26" fmla="*/ 144 w 288"/>
                  <a:gd name="T27" fmla="*/ 106 h 228"/>
                  <a:gd name="T28" fmla="*/ 207 w 288"/>
                  <a:gd name="T29" fmla="*/ 71 h 228"/>
                  <a:gd name="T30" fmla="*/ 213 w 288"/>
                  <a:gd name="T31" fmla="*/ 71 h 228"/>
                  <a:gd name="T32" fmla="*/ 216 w 288"/>
                  <a:gd name="T33" fmla="*/ 76 h 228"/>
                  <a:gd name="T34" fmla="*/ 216 w 288"/>
                  <a:gd name="T35" fmla="*/ 107 h 228"/>
                  <a:gd name="T36" fmla="*/ 279 w 288"/>
                  <a:gd name="T37" fmla="*/ 70 h 228"/>
                  <a:gd name="T38" fmla="*/ 285 w 288"/>
                  <a:gd name="T39" fmla="*/ 71 h 228"/>
                  <a:gd name="T40" fmla="*/ 288 w 288"/>
                  <a:gd name="T41" fmla="*/ 76 h 228"/>
                  <a:gd name="T42" fmla="*/ 288 w 288"/>
                  <a:gd name="T43" fmla="*/ 222 h 228"/>
                  <a:gd name="T44" fmla="*/ 282 w 288"/>
                  <a:gd name="T45" fmla="*/ 228 h 228"/>
                  <a:gd name="T46" fmla="*/ 12 w 288"/>
                  <a:gd name="T47" fmla="*/ 216 h 228"/>
                  <a:gd name="T48" fmla="*/ 276 w 288"/>
                  <a:gd name="T49" fmla="*/ 216 h 228"/>
                  <a:gd name="T50" fmla="*/ 276 w 288"/>
                  <a:gd name="T51" fmla="*/ 86 h 228"/>
                  <a:gd name="T52" fmla="*/ 213 w 288"/>
                  <a:gd name="T53" fmla="*/ 122 h 228"/>
                  <a:gd name="T54" fmla="*/ 207 w 288"/>
                  <a:gd name="T55" fmla="*/ 122 h 228"/>
                  <a:gd name="T56" fmla="*/ 204 w 288"/>
                  <a:gd name="T57" fmla="*/ 117 h 228"/>
                  <a:gd name="T58" fmla="*/ 204 w 288"/>
                  <a:gd name="T59" fmla="*/ 86 h 228"/>
                  <a:gd name="T60" fmla="*/ 141 w 288"/>
                  <a:gd name="T61" fmla="*/ 122 h 228"/>
                  <a:gd name="T62" fmla="*/ 135 w 288"/>
                  <a:gd name="T63" fmla="*/ 122 h 228"/>
                  <a:gd name="T64" fmla="*/ 132 w 288"/>
                  <a:gd name="T65" fmla="*/ 117 h 228"/>
                  <a:gd name="T66" fmla="*/ 132 w 288"/>
                  <a:gd name="T67" fmla="*/ 87 h 228"/>
                  <a:gd name="T68" fmla="*/ 78 w 288"/>
                  <a:gd name="T69" fmla="*/ 122 h 228"/>
                  <a:gd name="T70" fmla="*/ 73 w 288"/>
                  <a:gd name="T71" fmla="*/ 122 h 228"/>
                  <a:gd name="T72" fmla="*/ 69 w 288"/>
                  <a:gd name="T73" fmla="*/ 118 h 228"/>
                  <a:gd name="T74" fmla="*/ 47 w 288"/>
                  <a:gd name="T75" fmla="*/ 12 h 228"/>
                  <a:gd name="T76" fmla="*/ 28 w 288"/>
                  <a:gd name="T77" fmla="*/ 12 h 228"/>
                  <a:gd name="T78" fmla="*/ 12 w 288"/>
                  <a:gd name="T79" fmla="*/ 129 h 228"/>
                  <a:gd name="T80" fmla="*/ 12 w 288"/>
                  <a:gd name="T81" fmla="*/ 216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88" h="228">
                    <a:moveTo>
                      <a:pt x="282" y="228"/>
                    </a:moveTo>
                    <a:cubicBezTo>
                      <a:pt x="6" y="228"/>
                      <a:pt x="6" y="228"/>
                      <a:pt x="6" y="228"/>
                    </a:cubicBezTo>
                    <a:cubicBezTo>
                      <a:pt x="3" y="228"/>
                      <a:pt x="0" y="225"/>
                      <a:pt x="0" y="222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0" y="128"/>
                      <a:pt x="0" y="128"/>
                      <a:pt x="0" y="127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8" y="2"/>
                      <a:pt x="20" y="0"/>
                      <a:pt x="23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5" y="0"/>
                      <a:pt x="57" y="2"/>
                      <a:pt x="58" y="5"/>
                    </a:cubicBezTo>
                    <a:cubicBezTo>
                      <a:pt x="79" y="107"/>
                      <a:pt x="79" y="107"/>
                      <a:pt x="79" y="107"/>
                    </a:cubicBezTo>
                    <a:cubicBezTo>
                      <a:pt x="135" y="71"/>
                      <a:pt x="135" y="71"/>
                      <a:pt x="135" y="71"/>
                    </a:cubicBezTo>
                    <a:cubicBezTo>
                      <a:pt x="136" y="69"/>
                      <a:pt x="139" y="69"/>
                      <a:pt x="141" y="70"/>
                    </a:cubicBezTo>
                    <a:cubicBezTo>
                      <a:pt x="143" y="71"/>
                      <a:pt x="144" y="73"/>
                      <a:pt x="144" y="76"/>
                    </a:cubicBezTo>
                    <a:cubicBezTo>
                      <a:pt x="144" y="106"/>
                      <a:pt x="144" y="106"/>
                      <a:pt x="144" y="106"/>
                    </a:cubicBezTo>
                    <a:cubicBezTo>
                      <a:pt x="207" y="71"/>
                      <a:pt x="207" y="71"/>
                      <a:pt x="207" y="71"/>
                    </a:cubicBezTo>
                    <a:cubicBezTo>
                      <a:pt x="209" y="70"/>
                      <a:pt x="211" y="70"/>
                      <a:pt x="213" y="71"/>
                    </a:cubicBezTo>
                    <a:cubicBezTo>
                      <a:pt x="215" y="72"/>
                      <a:pt x="216" y="74"/>
                      <a:pt x="216" y="76"/>
                    </a:cubicBezTo>
                    <a:cubicBezTo>
                      <a:pt x="216" y="107"/>
                      <a:pt x="216" y="107"/>
                      <a:pt x="216" y="107"/>
                    </a:cubicBezTo>
                    <a:cubicBezTo>
                      <a:pt x="279" y="70"/>
                      <a:pt x="279" y="70"/>
                      <a:pt x="279" y="70"/>
                    </a:cubicBezTo>
                    <a:cubicBezTo>
                      <a:pt x="281" y="69"/>
                      <a:pt x="283" y="69"/>
                      <a:pt x="285" y="71"/>
                    </a:cubicBezTo>
                    <a:cubicBezTo>
                      <a:pt x="287" y="72"/>
                      <a:pt x="288" y="74"/>
                      <a:pt x="288" y="76"/>
                    </a:cubicBezTo>
                    <a:cubicBezTo>
                      <a:pt x="288" y="222"/>
                      <a:pt x="288" y="222"/>
                      <a:pt x="288" y="222"/>
                    </a:cubicBezTo>
                    <a:cubicBezTo>
                      <a:pt x="288" y="225"/>
                      <a:pt x="285" y="228"/>
                      <a:pt x="282" y="228"/>
                    </a:cubicBezTo>
                    <a:close/>
                    <a:moveTo>
                      <a:pt x="12" y="216"/>
                    </a:moveTo>
                    <a:cubicBezTo>
                      <a:pt x="276" y="216"/>
                      <a:pt x="276" y="216"/>
                      <a:pt x="276" y="216"/>
                    </a:cubicBezTo>
                    <a:cubicBezTo>
                      <a:pt x="276" y="86"/>
                      <a:pt x="276" y="86"/>
                      <a:pt x="276" y="86"/>
                    </a:cubicBezTo>
                    <a:cubicBezTo>
                      <a:pt x="213" y="122"/>
                      <a:pt x="213" y="122"/>
                      <a:pt x="213" y="122"/>
                    </a:cubicBezTo>
                    <a:cubicBezTo>
                      <a:pt x="211" y="123"/>
                      <a:pt x="209" y="123"/>
                      <a:pt x="207" y="122"/>
                    </a:cubicBezTo>
                    <a:cubicBezTo>
                      <a:pt x="205" y="121"/>
                      <a:pt x="204" y="119"/>
                      <a:pt x="204" y="117"/>
                    </a:cubicBezTo>
                    <a:cubicBezTo>
                      <a:pt x="204" y="86"/>
                      <a:pt x="204" y="86"/>
                      <a:pt x="204" y="86"/>
                    </a:cubicBezTo>
                    <a:cubicBezTo>
                      <a:pt x="141" y="122"/>
                      <a:pt x="141" y="122"/>
                      <a:pt x="141" y="122"/>
                    </a:cubicBezTo>
                    <a:cubicBezTo>
                      <a:pt x="139" y="123"/>
                      <a:pt x="137" y="123"/>
                      <a:pt x="135" y="122"/>
                    </a:cubicBezTo>
                    <a:cubicBezTo>
                      <a:pt x="133" y="121"/>
                      <a:pt x="132" y="119"/>
                      <a:pt x="132" y="117"/>
                    </a:cubicBezTo>
                    <a:cubicBezTo>
                      <a:pt x="132" y="87"/>
                      <a:pt x="132" y="87"/>
                      <a:pt x="132" y="87"/>
                    </a:cubicBezTo>
                    <a:cubicBezTo>
                      <a:pt x="78" y="122"/>
                      <a:pt x="78" y="122"/>
                      <a:pt x="78" y="122"/>
                    </a:cubicBezTo>
                    <a:cubicBezTo>
                      <a:pt x="76" y="123"/>
                      <a:pt x="74" y="123"/>
                      <a:pt x="73" y="122"/>
                    </a:cubicBezTo>
                    <a:cubicBezTo>
                      <a:pt x="71" y="121"/>
                      <a:pt x="69" y="120"/>
                      <a:pt x="69" y="118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12" y="129"/>
                      <a:pt x="12" y="129"/>
                      <a:pt x="12" y="129"/>
                    </a:cubicBezTo>
                    <a:lnTo>
                      <a:pt x="12" y="2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1496A45-29F9-4D2C-B37A-78BD0EF0AB12}"/>
                </a:ext>
              </a:extLst>
            </p:cNvPr>
            <p:cNvSpPr txBox="1"/>
            <p:nvPr/>
          </p:nvSpPr>
          <p:spPr>
            <a:xfrm>
              <a:off x="3601053" y="3212370"/>
              <a:ext cx="2104815" cy="600164"/>
            </a:xfrm>
            <a:prstGeom prst="rect">
              <a:avLst/>
            </a:prstGeom>
            <a:noFill/>
          </p:spPr>
          <p:txBody>
            <a:bodyPr wrap="square" lIns="0" tIns="0" rIns="0" bIns="45720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e lower the number of heavy metal contamination, the higher it scores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0487449-5CB5-43A1-810E-65B9B8EAEEBF}"/>
              </a:ext>
            </a:extLst>
          </p:cNvPr>
          <p:cNvGrpSpPr/>
          <p:nvPr/>
        </p:nvGrpSpPr>
        <p:grpSpPr>
          <a:xfrm>
            <a:off x="5000702" y="2094574"/>
            <a:ext cx="2104815" cy="1579017"/>
            <a:chOff x="6238775" y="2220707"/>
            <a:chExt cx="2104815" cy="1579017"/>
          </a:xfrm>
        </p:grpSpPr>
        <p:sp>
          <p:nvSpPr>
            <p:cNvPr id="24" name="Text Placeholder 14">
              <a:extLst>
                <a:ext uri="{FF2B5EF4-FFF2-40B4-BE49-F238E27FC236}">
                  <a16:creationId xmlns:a16="http://schemas.microsoft.com/office/drawing/2014/main" id="{BAF09B72-98FC-4826-9B50-F7DAD0DDD577}"/>
                </a:ext>
              </a:extLst>
            </p:cNvPr>
            <p:cNvSpPr txBox="1">
              <a:spLocks/>
            </p:cNvSpPr>
            <p:nvPr/>
          </p:nvSpPr>
          <p:spPr>
            <a:xfrm>
              <a:off x="6296576" y="2852444"/>
              <a:ext cx="1989212" cy="393700"/>
            </a:xfrm>
            <a:prstGeom prst="rect">
              <a:avLst/>
            </a:prstGeom>
          </p:spPr>
          <p:txBody>
            <a:bodyPr/>
            <a:lstStyle>
              <a:lvl1pPr marL="0" indent="0" algn="l" defTabSz="914377" rtl="0" eaLnBrk="1" latinLnBrk="0" hangingPunct="1">
                <a:lnSpc>
                  <a:spcPct val="85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b="1" kern="1200" cap="all" baseline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37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377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3034" indent="-169858" algn="l" defTabSz="914377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46066" indent="-177796" algn="l" defTabSz="914377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Graphik" panose="020B0503030202060203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12750" indent="-17303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377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None/>
                <a:defRPr sz="1200" b="1" kern="1200" cap="all" baseline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7pPr>
              <a:lvl8pPr marL="0" indent="0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377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7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all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pesticides</a:t>
              </a:r>
            </a:p>
          </p:txBody>
        </p:sp>
        <p:grpSp>
          <p:nvGrpSpPr>
            <p:cNvPr id="25" name="Group 154">
              <a:extLst>
                <a:ext uri="{FF2B5EF4-FFF2-40B4-BE49-F238E27FC236}">
                  <a16:creationId xmlns:a16="http://schemas.microsoft.com/office/drawing/2014/main" id="{B0EFA6F6-02F5-4EDE-AA44-FD42E1C0E70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041942" y="2220707"/>
              <a:ext cx="498480" cy="489142"/>
              <a:chOff x="1565" y="3201"/>
              <a:chExt cx="427" cy="419"/>
            </a:xfrm>
            <a:solidFill>
              <a:srgbClr val="2EBEB9"/>
            </a:solidFill>
          </p:grpSpPr>
          <p:sp>
            <p:nvSpPr>
              <p:cNvPr id="27" name="Freeform 155">
                <a:extLst>
                  <a:ext uri="{FF2B5EF4-FFF2-40B4-BE49-F238E27FC236}">
                    <a16:creationId xmlns:a16="http://schemas.microsoft.com/office/drawing/2014/main" id="{774B8ADD-01E7-4EBE-963A-48B563A01E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03" y="3230"/>
                <a:ext cx="89" cy="160"/>
              </a:xfrm>
              <a:custGeom>
                <a:avLst/>
                <a:gdLst>
                  <a:gd name="T0" fmla="*/ 54 w 60"/>
                  <a:gd name="T1" fmla="*/ 108 h 108"/>
                  <a:gd name="T2" fmla="*/ 6 w 60"/>
                  <a:gd name="T3" fmla="*/ 108 h 108"/>
                  <a:gd name="T4" fmla="*/ 0 w 60"/>
                  <a:gd name="T5" fmla="*/ 102 h 108"/>
                  <a:gd name="T6" fmla="*/ 0 w 60"/>
                  <a:gd name="T7" fmla="*/ 6 h 108"/>
                  <a:gd name="T8" fmla="*/ 6 w 60"/>
                  <a:gd name="T9" fmla="*/ 0 h 108"/>
                  <a:gd name="T10" fmla="*/ 54 w 60"/>
                  <a:gd name="T11" fmla="*/ 0 h 108"/>
                  <a:gd name="T12" fmla="*/ 60 w 60"/>
                  <a:gd name="T13" fmla="*/ 6 h 108"/>
                  <a:gd name="T14" fmla="*/ 60 w 60"/>
                  <a:gd name="T15" fmla="*/ 102 h 108"/>
                  <a:gd name="T16" fmla="*/ 54 w 60"/>
                  <a:gd name="T17" fmla="*/ 108 h 108"/>
                  <a:gd name="T18" fmla="*/ 12 w 60"/>
                  <a:gd name="T19" fmla="*/ 96 h 108"/>
                  <a:gd name="T20" fmla="*/ 48 w 60"/>
                  <a:gd name="T21" fmla="*/ 96 h 108"/>
                  <a:gd name="T22" fmla="*/ 48 w 60"/>
                  <a:gd name="T23" fmla="*/ 12 h 108"/>
                  <a:gd name="T24" fmla="*/ 12 w 60"/>
                  <a:gd name="T25" fmla="*/ 12 h 108"/>
                  <a:gd name="T26" fmla="*/ 12 w 60"/>
                  <a:gd name="T27" fmla="*/ 9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0" h="108">
                    <a:moveTo>
                      <a:pt x="54" y="108"/>
                    </a:moveTo>
                    <a:cubicBezTo>
                      <a:pt x="6" y="108"/>
                      <a:pt x="6" y="108"/>
                      <a:pt x="6" y="108"/>
                    </a:cubicBezTo>
                    <a:cubicBezTo>
                      <a:pt x="3" y="108"/>
                      <a:pt x="0" y="106"/>
                      <a:pt x="0" y="10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8" y="0"/>
                      <a:pt x="60" y="3"/>
                      <a:pt x="60" y="6"/>
                    </a:cubicBezTo>
                    <a:cubicBezTo>
                      <a:pt x="60" y="102"/>
                      <a:pt x="60" y="102"/>
                      <a:pt x="60" y="102"/>
                    </a:cubicBezTo>
                    <a:cubicBezTo>
                      <a:pt x="60" y="106"/>
                      <a:pt x="58" y="108"/>
                      <a:pt x="54" y="108"/>
                    </a:cubicBezTo>
                    <a:close/>
                    <a:moveTo>
                      <a:pt x="12" y="96"/>
                    </a:moveTo>
                    <a:cubicBezTo>
                      <a:pt x="48" y="96"/>
                      <a:pt x="48" y="96"/>
                      <a:pt x="48" y="96"/>
                    </a:cubicBezTo>
                    <a:cubicBezTo>
                      <a:pt x="48" y="12"/>
                      <a:pt x="48" y="12"/>
                      <a:pt x="48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28" name="Freeform 156">
                <a:extLst>
                  <a:ext uri="{FF2B5EF4-FFF2-40B4-BE49-F238E27FC236}">
                    <a16:creationId xmlns:a16="http://schemas.microsoft.com/office/drawing/2014/main" id="{872D2A76-6BE7-455E-8CDA-54351CC2B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5" y="3201"/>
                <a:ext cx="357" cy="193"/>
              </a:xfrm>
              <a:custGeom>
                <a:avLst/>
                <a:gdLst>
                  <a:gd name="T0" fmla="*/ 118 w 241"/>
                  <a:gd name="T1" fmla="*/ 130 h 130"/>
                  <a:gd name="T2" fmla="*/ 106 w 241"/>
                  <a:gd name="T3" fmla="*/ 122 h 130"/>
                  <a:gd name="T4" fmla="*/ 141 w 241"/>
                  <a:gd name="T5" fmla="*/ 77 h 130"/>
                  <a:gd name="T6" fmla="*/ 146 w 241"/>
                  <a:gd name="T7" fmla="*/ 72 h 130"/>
                  <a:gd name="T8" fmla="*/ 115 w 241"/>
                  <a:gd name="T9" fmla="*/ 65 h 130"/>
                  <a:gd name="T10" fmla="*/ 44 w 241"/>
                  <a:gd name="T11" fmla="*/ 90 h 130"/>
                  <a:gd name="T12" fmla="*/ 44 w 241"/>
                  <a:gd name="T13" fmla="*/ 90 h 130"/>
                  <a:gd name="T14" fmla="*/ 2 w 241"/>
                  <a:gd name="T15" fmla="*/ 77 h 130"/>
                  <a:gd name="T16" fmla="*/ 0 w 241"/>
                  <a:gd name="T17" fmla="*/ 72 h 130"/>
                  <a:gd name="T18" fmla="*/ 4 w 241"/>
                  <a:gd name="T19" fmla="*/ 67 h 130"/>
                  <a:gd name="T20" fmla="*/ 67 w 241"/>
                  <a:gd name="T21" fmla="*/ 34 h 130"/>
                  <a:gd name="T22" fmla="*/ 197 w 241"/>
                  <a:gd name="T23" fmla="*/ 23 h 130"/>
                  <a:gd name="T24" fmla="*/ 236 w 241"/>
                  <a:gd name="T25" fmla="*/ 37 h 130"/>
                  <a:gd name="T26" fmla="*/ 240 w 241"/>
                  <a:gd name="T27" fmla="*/ 44 h 130"/>
                  <a:gd name="T28" fmla="*/ 232 w 241"/>
                  <a:gd name="T29" fmla="*/ 48 h 130"/>
                  <a:gd name="T30" fmla="*/ 193 w 241"/>
                  <a:gd name="T31" fmla="*/ 35 h 130"/>
                  <a:gd name="T32" fmla="*/ 72 w 241"/>
                  <a:gd name="T33" fmla="*/ 45 h 130"/>
                  <a:gd name="T34" fmla="*/ 17 w 241"/>
                  <a:gd name="T35" fmla="*/ 74 h 130"/>
                  <a:gd name="T36" fmla="*/ 40 w 241"/>
                  <a:gd name="T37" fmla="*/ 79 h 130"/>
                  <a:gd name="T38" fmla="*/ 112 w 241"/>
                  <a:gd name="T39" fmla="*/ 53 h 130"/>
                  <a:gd name="T40" fmla="*/ 116 w 241"/>
                  <a:gd name="T41" fmla="*/ 53 h 130"/>
                  <a:gd name="T42" fmla="*/ 161 w 241"/>
                  <a:gd name="T43" fmla="*/ 64 h 130"/>
                  <a:gd name="T44" fmla="*/ 166 w 241"/>
                  <a:gd name="T45" fmla="*/ 68 h 130"/>
                  <a:gd name="T46" fmla="*/ 164 w 241"/>
                  <a:gd name="T47" fmla="*/ 74 h 130"/>
                  <a:gd name="T48" fmla="*/ 148 w 241"/>
                  <a:gd name="T49" fmla="*/ 86 h 130"/>
                  <a:gd name="T50" fmla="*/ 117 w 241"/>
                  <a:gd name="T51" fmla="*/ 116 h 130"/>
                  <a:gd name="T52" fmla="*/ 149 w 241"/>
                  <a:gd name="T53" fmla="*/ 107 h 130"/>
                  <a:gd name="T54" fmla="*/ 182 w 241"/>
                  <a:gd name="T55" fmla="*/ 93 h 130"/>
                  <a:gd name="T56" fmla="*/ 186 w 241"/>
                  <a:gd name="T57" fmla="*/ 93 h 130"/>
                  <a:gd name="T58" fmla="*/ 235 w 241"/>
                  <a:gd name="T59" fmla="*/ 110 h 130"/>
                  <a:gd name="T60" fmla="*/ 239 w 241"/>
                  <a:gd name="T61" fmla="*/ 117 h 130"/>
                  <a:gd name="T62" fmla="*/ 232 w 241"/>
                  <a:gd name="T63" fmla="*/ 121 h 130"/>
                  <a:gd name="T64" fmla="*/ 184 w 241"/>
                  <a:gd name="T65" fmla="*/ 105 h 130"/>
                  <a:gd name="T66" fmla="*/ 153 w 241"/>
                  <a:gd name="T67" fmla="*/ 118 h 130"/>
                  <a:gd name="T68" fmla="*/ 118 w 241"/>
                  <a:gd name="T69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130">
                    <a:moveTo>
                      <a:pt x="118" y="130"/>
                    </a:moveTo>
                    <a:cubicBezTo>
                      <a:pt x="113" y="130"/>
                      <a:pt x="109" y="128"/>
                      <a:pt x="106" y="122"/>
                    </a:cubicBezTo>
                    <a:cubicBezTo>
                      <a:pt x="98" y="108"/>
                      <a:pt x="120" y="92"/>
                      <a:pt x="141" y="77"/>
                    </a:cubicBezTo>
                    <a:cubicBezTo>
                      <a:pt x="143" y="75"/>
                      <a:pt x="145" y="74"/>
                      <a:pt x="146" y="72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44" y="90"/>
                      <a:pt x="44" y="90"/>
                      <a:pt x="44" y="90"/>
                    </a:cubicBezTo>
                    <a:cubicBezTo>
                      <a:pt x="44" y="90"/>
                      <a:pt x="44" y="90"/>
                      <a:pt x="44" y="90"/>
                    </a:cubicBezTo>
                    <a:cubicBezTo>
                      <a:pt x="28" y="95"/>
                      <a:pt x="16" y="91"/>
                      <a:pt x="2" y="77"/>
                    </a:cubicBezTo>
                    <a:cubicBezTo>
                      <a:pt x="1" y="75"/>
                      <a:pt x="0" y="73"/>
                      <a:pt x="0" y="72"/>
                    </a:cubicBezTo>
                    <a:cubicBezTo>
                      <a:pt x="1" y="70"/>
                      <a:pt x="2" y="68"/>
                      <a:pt x="4" y="67"/>
                    </a:cubicBezTo>
                    <a:cubicBezTo>
                      <a:pt x="30" y="54"/>
                      <a:pt x="50" y="43"/>
                      <a:pt x="67" y="34"/>
                    </a:cubicBezTo>
                    <a:cubicBezTo>
                      <a:pt x="130" y="0"/>
                      <a:pt x="131" y="0"/>
                      <a:pt x="197" y="23"/>
                    </a:cubicBezTo>
                    <a:cubicBezTo>
                      <a:pt x="208" y="27"/>
                      <a:pt x="221" y="32"/>
                      <a:pt x="236" y="37"/>
                    </a:cubicBezTo>
                    <a:cubicBezTo>
                      <a:pt x="239" y="38"/>
                      <a:pt x="241" y="41"/>
                      <a:pt x="240" y="44"/>
                    </a:cubicBezTo>
                    <a:cubicBezTo>
                      <a:pt x="239" y="48"/>
                      <a:pt x="235" y="49"/>
                      <a:pt x="232" y="48"/>
                    </a:cubicBezTo>
                    <a:cubicBezTo>
                      <a:pt x="217" y="43"/>
                      <a:pt x="204" y="39"/>
                      <a:pt x="193" y="35"/>
                    </a:cubicBezTo>
                    <a:cubicBezTo>
                      <a:pt x="131" y="13"/>
                      <a:pt x="131" y="13"/>
                      <a:pt x="72" y="45"/>
                    </a:cubicBezTo>
                    <a:cubicBezTo>
                      <a:pt x="58" y="53"/>
                      <a:pt x="40" y="62"/>
                      <a:pt x="17" y="74"/>
                    </a:cubicBezTo>
                    <a:cubicBezTo>
                      <a:pt x="26" y="81"/>
                      <a:pt x="33" y="81"/>
                      <a:pt x="40" y="79"/>
                    </a:cubicBezTo>
                    <a:cubicBezTo>
                      <a:pt x="112" y="53"/>
                      <a:pt x="112" y="53"/>
                      <a:pt x="112" y="53"/>
                    </a:cubicBezTo>
                    <a:cubicBezTo>
                      <a:pt x="113" y="52"/>
                      <a:pt x="115" y="52"/>
                      <a:pt x="116" y="53"/>
                    </a:cubicBezTo>
                    <a:cubicBezTo>
                      <a:pt x="161" y="64"/>
                      <a:pt x="161" y="64"/>
                      <a:pt x="161" y="64"/>
                    </a:cubicBezTo>
                    <a:cubicBezTo>
                      <a:pt x="163" y="64"/>
                      <a:pt x="165" y="66"/>
                      <a:pt x="166" y="68"/>
                    </a:cubicBezTo>
                    <a:cubicBezTo>
                      <a:pt x="166" y="70"/>
                      <a:pt x="165" y="72"/>
                      <a:pt x="164" y="74"/>
                    </a:cubicBezTo>
                    <a:cubicBezTo>
                      <a:pt x="160" y="77"/>
                      <a:pt x="154" y="82"/>
                      <a:pt x="148" y="86"/>
                    </a:cubicBezTo>
                    <a:cubicBezTo>
                      <a:pt x="125" y="103"/>
                      <a:pt x="115" y="113"/>
                      <a:pt x="117" y="116"/>
                    </a:cubicBezTo>
                    <a:cubicBezTo>
                      <a:pt x="119" y="120"/>
                      <a:pt x="119" y="120"/>
                      <a:pt x="149" y="107"/>
                    </a:cubicBezTo>
                    <a:cubicBezTo>
                      <a:pt x="157" y="104"/>
                      <a:pt x="168" y="99"/>
                      <a:pt x="182" y="93"/>
                    </a:cubicBezTo>
                    <a:cubicBezTo>
                      <a:pt x="183" y="93"/>
                      <a:pt x="185" y="93"/>
                      <a:pt x="186" y="93"/>
                    </a:cubicBezTo>
                    <a:cubicBezTo>
                      <a:pt x="235" y="110"/>
                      <a:pt x="235" y="110"/>
                      <a:pt x="235" y="110"/>
                    </a:cubicBezTo>
                    <a:cubicBezTo>
                      <a:pt x="239" y="111"/>
                      <a:pt x="240" y="114"/>
                      <a:pt x="239" y="117"/>
                    </a:cubicBezTo>
                    <a:cubicBezTo>
                      <a:pt x="238" y="120"/>
                      <a:pt x="235" y="122"/>
                      <a:pt x="232" y="121"/>
                    </a:cubicBezTo>
                    <a:cubicBezTo>
                      <a:pt x="184" y="105"/>
                      <a:pt x="184" y="105"/>
                      <a:pt x="184" y="105"/>
                    </a:cubicBezTo>
                    <a:cubicBezTo>
                      <a:pt x="172" y="110"/>
                      <a:pt x="162" y="115"/>
                      <a:pt x="153" y="118"/>
                    </a:cubicBezTo>
                    <a:cubicBezTo>
                      <a:pt x="136" y="126"/>
                      <a:pt x="126" y="130"/>
                      <a:pt x="118" y="1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29" name="Freeform 157">
                <a:extLst>
                  <a:ext uri="{FF2B5EF4-FFF2-40B4-BE49-F238E27FC236}">
                    <a16:creationId xmlns:a16="http://schemas.microsoft.com/office/drawing/2014/main" id="{0E881BA6-A25C-40D1-87EF-F6DB49CD9C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5" y="3418"/>
                <a:ext cx="54" cy="53"/>
              </a:xfrm>
              <a:custGeom>
                <a:avLst/>
                <a:gdLst>
                  <a:gd name="T0" fmla="*/ 6 w 36"/>
                  <a:gd name="T1" fmla="*/ 36 h 36"/>
                  <a:gd name="T2" fmla="*/ 2 w 36"/>
                  <a:gd name="T3" fmla="*/ 34 h 36"/>
                  <a:gd name="T4" fmla="*/ 2 w 36"/>
                  <a:gd name="T5" fmla="*/ 26 h 36"/>
                  <a:gd name="T6" fmla="*/ 25 w 36"/>
                  <a:gd name="T7" fmla="*/ 2 h 36"/>
                  <a:gd name="T8" fmla="*/ 34 w 36"/>
                  <a:gd name="T9" fmla="*/ 2 h 36"/>
                  <a:gd name="T10" fmla="*/ 34 w 36"/>
                  <a:gd name="T11" fmla="*/ 11 h 36"/>
                  <a:gd name="T12" fmla="*/ 10 w 36"/>
                  <a:gd name="T13" fmla="*/ 34 h 36"/>
                  <a:gd name="T14" fmla="*/ 6 w 36"/>
                  <a:gd name="T15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36">
                    <a:moveTo>
                      <a:pt x="6" y="36"/>
                    </a:moveTo>
                    <a:cubicBezTo>
                      <a:pt x="5" y="36"/>
                      <a:pt x="3" y="35"/>
                      <a:pt x="2" y="34"/>
                    </a:cubicBezTo>
                    <a:cubicBezTo>
                      <a:pt x="0" y="32"/>
                      <a:pt x="0" y="28"/>
                      <a:pt x="2" y="26"/>
                    </a:cubicBezTo>
                    <a:cubicBezTo>
                      <a:pt x="25" y="2"/>
                      <a:pt x="25" y="2"/>
                      <a:pt x="25" y="2"/>
                    </a:cubicBezTo>
                    <a:cubicBezTo>
                      <a:pt x="28" y="0"/>
                      <a:pt x="32" y="0"/>
                      <a:pt x="34" y="2"/>
                    </a:cubicBezTo>
                    <a:cubicBezTo>
                      <a:pt x="36" y="4"/>
                      <a:pt x="36" y="8"/>
                      <a:pt x="34" y="11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9" y="35"/>
                      <a:pt x="8" y="36"/>
                      <a:pt x="6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4AACF3C1-1360-4771-8CCE-5AACA220F5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9" y="3400"/>
                <a:ext cx="54" cy="54"/>
              </a:xfrm>
              <a:custGeom>
                <a:avLst/>
                <a:gdLst>
                  <a:gd name="T0" fmla="*/ 31 w 37"/>
                  <a:gd name="T1" fmla="*/ 36 h 36"/>
                  <a:gd name="T2" fmla="*/ 27 w 37"/>
                  <a:gd name="T3" fmla="*/ 34 h 36"/>
                  <a:gd name="T4" fmla="*/ 3 w 37"/>
                  <a:gd name="T5" fmla="*/ 11 h 36"/>
                  <a:gd name="T6" fmla="*/ 3 w 37"/>
                  <a:gd name="T7" fmla="*/ 2 h 36"/>
                  <a:gd name="T8" fmla="*/ 11 w 37"/>
                  <a:gd name="T9" fmla="*/ 2 h 36"/>
                  <a:gd name="T10" fmla="*/ 35 w 37"/>
                  <a:gd name="T11" fmla="*/ 25 h 36"/>
                  <a:gd name="T12" fmla="*/ 35 w 37"/>
                  <a:gd name="T13" fmla="*/ 34 h 36"/>
                  <a:gd name="T14" fmla="*/ 31 w 37"/>
                  <a:gd name="T15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" h="36">
                    <a:moveTo>
                      <a:pt x="31" y="36"/>
                    </a:moveTo>
                    <a:cubicBezTo>
                      <a:pt x="29" y="36"/>
                      <a:pt x="28" y="35"/>
                      <a:pt x="27" y="34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0" y="9"/>
                      <a:pt x="0" y="5"/>
                      <a:pt x="3" y="2"/>
                    </a:cubicBezTo>
                    <a:cubicBezTo>
                      <a:pt x="5" y="0"/>
                      <a:pt x="9" y="0"/>
                      <a:pt x="11" y="2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7" y="27"/>
                      <a:pt x="37" y="31"/>
                      <a:pt x="35" y="34"/>
                    </a:cubicBezTo>
                    <a:cubicBezTo>
                      <a:pt x="34" y="35"/>
                      <a:pt x="32" y="36"/>
                      <a:pt x="31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F6B40D32-18C3-402F-88A5-AD8735438A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5" y="3446"/>
                <a:ext cx="26" cy="67"/>
              </a:xfrm>
              <a:custGeom>
                <a:avLst/>
                <a:gdLst>
                  <a:gd name="T0" fmla="*/ 6 w 18"/>
                  <a:gd name="T1" fmla="*/ 45 h 45"/>
                  <a:gd name="T2" fmla="*/ 5 w 18"/>
                  <a:gd name="T3" fmla="*/ 45 h 45"/>
                  <a:gd name="T4" fmla="*/ 0 w 18"/>
                  <a:gd name="T5" fmla="*/ 38 h 45"/>
                  <a:gd name="T6" fmla="*/ 6 w 18"/>
                  <a:gd name="T7" fmla="*/ 6 h 45"/>
                  <a:gd name="T8" fmla="*/ 13 w 18"/>
                  <a:gd name="T9" fmla="*/ 1 h 45"/>
                  <a:gd name="T10" fmla="*/ 18 w 18"/>
                  <a:gd name="T11" fmla="*/ 8 h 45"/>
                  <a:gd name="T12" fmla="*/ 12 w 18"/>
                  <a:gd name="T13" fmla="*/ 40 h 45"/>
                  <a:gd name="T14" fmla="*/ 6 w 18"/>
                  <a:gd name="T15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45">
                    <a:moveTo>
                      <a:pt x="6" y="45"/>
                    </a:moveTo>
                    <a:cubicBezTo>
                      <a:pt x="6" y="45"/>
                      <a:pt x="5" y="45"/>
                      <a:pt x="5" y="45"/>
                    </a:cubicBezTo>
                    <a:cubicBezTo>
                      <a:pt x="2" y="45"/>
                      <a:pt x="0" y="42"/>
                      <a:pt x="0" y="38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2"/>
                      <a:pt x="10" y="0"/>
                      <a:pt x="13" y="1"/>
                    </a:cubicBezTo>
                    <a:cubicBezTo>
                      <a:pt x="16" y="1"/>
                      <a:pt x="18" y="5"/>
                      <a:pt x="18" y="8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1" y="43"/>
                      <a:pt x="9" y="45"/>
                      <a:pt x="6" y="4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C242E1A0-4A82-4E52-A422-43962A1EF1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4" y="3471"/>
                <a:ext cx="54" cy="54"/>
              </a:xfrm>
              <a:custGeom>
                <a:avLst/>
                <a:gdLst>
                  <a:gd name="T0" fmla="*/ 29 w 36"/>
                  <a:gd name="T1" fmla="*/ 36 h 36"/>
                  <a:gd name="T2" fmla="*/ 25 w 36"/>
                  <a:gd name="T3" fmla="*/ 34 h 36"/>
                  <a:gd name="T4" fmla="*/ 2 w 36"/>
                  <a:gd name="T5" fmla="*/ 10 h 36"/>
                  <a:gd name="T6" fmla="*/ 2 w 36"/>
                  <a:gd name="T7" fmla="*/ 2 h 36"/>
                  <a:gd name="T8" fmla="*/ 11 w 36"/>
                  <a:gd name="T9" fmla="*/ 2 h 36"/>
                  <a:gd name="T10" fmla="*/ 34 w 36"/>
                  <a:gd name="T11" fmla="*/ 26 h 36"/>
                  <a:gd name="T12" fmla="*/ 34 w 36"/>
                  <a:gd name="T13" fmla="*/ 34 h 36"/>
                  <a:gd name="T14" fmla="*/ 29 w 36"/>
                  <a:gd name="T15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36">
                    <a:moveTo>
                      <a:pt x="29" y="36"/>
                    </a:moveTo>
                    <a:cubicBezTo>
                      <a:pt x="28" y="36"/>
                      <a:pt x="26" y="35"/>
                      <a:pt x="25" y="3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0" y="8"/>
                      <a:pt x="0" y="4"/>
                      <a:pt x="2" y="2"/>
                    </a:cubicBezTo>
                    <a:cubicBezTo>
                      <a:pt x="5" y="0"/>
                      <a:pt x="8" y="0"/>
                      <a:pt x="11" y="2"/>
                    </a:cubicBezTo>
                    <a:cubicBezTo>
                      <a:pt x="34" y="26"/>
                      <a:pt x="34" y="26"/>
                      <a:pt x="34" y="26"/>
                    </a:cubicBezTo>
                    <a:cubicBezTo>
                      <a:pt x="36" y="28"/>
                      <a:pt x="36" y="32"/>
                      <a:pt x="34" y="34"/>
                    </a:cubicBezTo>
                    <a:cubicBezTo>
                      <a:pt x="32" y="35"/>
                      <a:pt x="31" y="36"/>
                      <a:pt x="29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33FD6D3E-0764-40C7-9D60-204B2C702D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0" y="3500"/>
                <a:ext cx="20" cy="68"/>
              </a:xfrm>
              <a:custGeom>
                <a:avLst/>
                <a:gdLst>
                  <a:gd name="T0" fmla="*/ 8 w 14"/>
                  <a:gd name="T1" fmla="*/ 46 h 46"/>
                  <a:gd name="T2" fmla="*/ 2 w 14"/>
                  <a:gd name="T3" fmla="*/ 40 h 46"/>
                  <a:gd name="T4" fmla="*/ 0 w 14"/>
                  <a:gd name="T5" fmla="*/ 7 h 46"/>
                  <a:gd name="T6" fmla="*/ 6 w 14"/>
                  <a:gd name="T7" fmla="*/ 1 h 46"/>
                  <a:gd name="T8" fmla="*/ 12 w 14"/>
                  <a:gd name="T9" fmla="*/ 6 h 46"/>
                  <a:gd name="T10" fmla="*/ 14 w 14"/>
                  <a:gd name="T11" fmla="*/ 39 h 46"/>
                  <a:gd name="T12" fmla="*/ 8 w 14"/>
                  <a:gd name="T13" fmla="*/ 46 h 46"/>
                  <a:gd name="T14" fmla="*/ 8 w 14"/>
                  <a:gd name="T15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46">
                    <a:moveTo>
                      <a:pt x="8" y="46"/>
                    </a:moveTo>
                    <a:cubicBezTo>
                      <a:pt x="5" y="46"/>
                      <a:pt x="2" y="43"/>
                      <a:pt x="2" y="4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4"/>
                      <a:pt x="2" y="1"/>
                      <a:pt x="6" y="1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43"/>
                      <a:pt x="12" y="45"/>
                      <a:pt x="8" y="46"/>
                    </a:cubicBezTo>
                    <a:cubicBezTo>
                      <a:pt x="8" y="46"/>
                      <a:pt x="8" y="46"/>
                      <a:pt x="8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02863789-14EC-4572-9BFD-4F5E684021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1" y="3563"/>
                <a:ext cx="60" cy="48"/>
              </a:xfrm>
              <a:custGeom>
                <a:avLst/>
                <a:gdLst>
                  <a:gd name="T0" fmla="*/ 6 w 40"/>
                  <a:gd name="T1" fmla="*/ 32 h 32"/>
                  <a:gd name="T2" fmla="*/ 2 w 40"/>
                  <a:gd name="T3" fmla="*/ 29 h 32"/>
                  <a:gd name="T4" fmla="*/ 3 w 40"/>
                  <a:gd name="T5" fmla="*/ 21 h 32"/>
                  <a:gd name="T6" fmla="*/ 30 w 40"/>
                  <a:gd name="T7" fmla="*/ 1 h 32"/>
                  <a:gd name="T8" fmla="*/ 38 w 40"/>
                  <a:gd name="T9" fmla="*/ 3 h 32"/>
                  <a:gd name="T10" fmla="*/ 37 w 40"/>
                  <a:gd name="T11" fmla="*/ 11 h 32"/>
                  <a:gd name="T12" fmla="*/ 10 w 40"/>
                  <a:gd name="T13" fmla="*/ 31 h 32"/>
                  <a:gd name="T14" fmla="*/ 6 w 40"/>
                  <a:gd name="T1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0" h="32">
                    <a:moveTo>
                      <a:pt x="6" y="32"/>
                    </a:moveTo>
                    <a:cubicBezTo>
                      <a:pt x="5" y="32"/>
                      <a:pt x="3" y="31"/>
                      <a:pt x="2" y="29"/>
                    </a:cubicBezTo>
                    <a:cubicBezTo>
                      <a:pt x="0" y="27"/>
                      <a:pt x="0" y="23"/>
                      <a:pt x="3" y="21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2" y="0"/>
                      <a:pt x="36" y="0"/>
                      <a:pt x="38" y="3"/>
                    </a:cubicBezTo>
                    <a:cubicBezTo>
                      <a:pt x="40" y="6"/>
                      <a:pt x="40" y="9"/>
                      <a:pt x="37" y="11"/>
                    </a:cubicBezTo>
                    <a:cubicBezTo>
                      <a:pt x="10" y="31"/>
                      <a:pt x="10" y="31"/>
                      <a:pt x="10" y="31"/>
                    </a:cubicBezTo>
                    <a:cubicBezTo>
                      <a:pt x="9" y="31"/>
                      <a:pt x="8" y="32"/>
                      <a:pt x="6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1E39D71E-55C3-4BEF-AEA7-E78A9B92D3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8" y="3590"/>
                <a:ext cx="68" cy="30"/>
              </a:xfrm>
              <a:custGeom>
                <a:avLst/>
                <a:gdLst>
                  <a:gd name="T0" fmla="*/ 39 w 46"/>
                  <a:gd name="T1" fmla="*/ 20 h 20"/>
                  <a:gd name="T2" fmla="*/ 38 w 46"/>
                  <a:gd name="T3" fmla="*/ 20 h 20"/>
                  <a:gd name="T4" fmla="*/ 5 w 46"/>
                  <a:gd name="T5" fmla="*/ 12 h 20"/>
                  <a:gd name="T6" fmla="*/ 1 w 46"/>
                  <a:gd name="T7" fmla="*/ 5 h 20"/>
                  <a:gd name="T8" fmla="*/ 8 w 46"/>
                  <a:gd name="T9" fmla="*/ 0 h 20"/>
                  <a:gd name="T10" fmla="*/ 40 w 46"/>
                  <a:gd name="T11" fmla="*/ 8 h 20"/>
                  <a:gd name="T12" fmla="*/ 45 w 46"/>
                  <a:gd name="T13" fmla="*/ 15 h 20"/>
                  <a:gd name="T14" fmla="*/ 39 w 4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" h="20">
                    <a:moveTo>
                      <a:pt x="39" y="20"/>
                    </a:moveTo>
                    <a:cubicBezTo>
                      <a:pt x="39" y="20"/>
                      <a:pt x="38" y="20"/>
                      <a:pt x="38" y="20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2" y="11"/>
                      <a:pt x="0" y="8"/>
                      <a:pt x="1" y="5"/>
                    </a:cubicBezTo>
                    <a:cubicBezTo>
                      <a:pt x="2" y="2"/>
                      <a:pt x="5" y="0"/>
                      <a:pt x="8" y="0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44" y="9"/>
                      <a:pt x="46" y="12"/>
                      <a:pt x="45" y="15"/>
                    </a:cubicBezTo>
                    <a:cubicBezTo>
                      <a:pt x="44" y="18"/>
                      <a:pt x="42" y="20"/>
                      <a:pt x="39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36" name="Freeform 164">
                <a:extLst>
                  <a:ext uri="{FF2B5EF4-FFF2-40B4-BE49-F238E27FC236}">
                    <a16:creationId xmlns:a16="http://schemas.microsoft.com/office/drawing/2014/main" id="{659D3800-7643-42E4-AD01-6EB36BF9A2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6" y="3553"/>
                <a:ext cx="33" cy="67"/>
              </a:xfrm>
              <a:custGeom>
                <a:avLst/>
                <a:gdLst>
                  <a:gd name="T0" fmla="*/ 15 w 22"/>
                  <a:gd name="T1" fmla="*/ 45 h 45"/>
                  <a:gd name="T2" fmla="*/ 9 w 22"/>
                  <a:gd name="T3" fmla="*/ 41 h 45"/>
                  <a:gd name="T4" fmla="*/ 1 w 22"/>
                  <a:gd name="T5" fmla="*/ 8 h 45"/>
                  <a:gd name="T6" fmla="*/ 5 w 22"/>
                  <a:gd name="T7" fmla="*/ 1 h 45"/>
                  <a:gd name="T8" fmla="*/ 13 w 22"/>
                  <a:gd name="T9" fmla="*/ 6 h 45"/>
                  <a:gd name="T10" fmla="*/ 21 w 22"/>
                  <a:gd name="T11" fmla="*/ 38 h 45"/>
                  <a:gd name="T12" fmla="*/ 16 w 22"/>
                  <a:gd name="T13" fmla="*/ 45 h 45"/>
                  <a:gd name="T14" fmla="*/ 15 w 22"/>
                  <a:gd name="T15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45">
                    <a:moveTo>
                      <a:pt x="15" y="45"/>
                    </a:moveTo>
                    <a:cubicBezTo>
                      <a:pt x="12" y="45"/>
                      <a:pt x="10" y="43"/>
                      <a:pt x="9" y="41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5"/>
                      <a:pt x="2" y="2"/>
                      <a:pt x="5" y="1"/>
                    </a:cubicBezTo>
                    <a:cubicBezTo>
                      <a:pt x="9" y="0"/>
                      <a:pt x="12" y="2"/>
                      <a:pt x="13" y="6"/>
                    </a:cubicBezTo>
                    <a:cubicBezTo>
                      <a:pt x="21" y="38"/>
                      <a:pt x="21" y="38"/>
                      <a:pt x="21" y="38"/>
                    </a:cubicBezTo>
                    <a:cubicBezTo>
                      <a:pt x="22" y="41"/>
                      <a:pt x="20" y="44"/>
                      <a:pt x="16" y="45"/>
                    </a:cubicBezTo>
                    <a:cubicBezTo>
                      <a:pt x="16" y="45"/>
                      <a:pt x="15" y="45"/>
                      <a:pt x="15" y="4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37" name="Freeform 165">
                <a:extLst>
                  <a:ext uri="{FF2B5EF4-FFF2-40B4-BE49-F238E27FC236}">
                    <a16:creationId xmlns:a16="http://schemas.microsoft.com/office/drawing/2014/main" id="{BD2C9545-57E3-4D48-A6AC-37613E4E9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7" y="3522"/>
                <a:ext cx="48" cy="59"/>
              </a:xfrm>
              <a:custGeom>
                <a:avLst/>
                <a:gdLst>
                  <a:gd name="T0" fmla="*/ 6 w 32"/>
                  <a:gd name="T1" fmla="*/ 40 h 40"/>
                  <a:gd name="T2" fmla="*/ 3 w 32"/>
                  <a:gd name="T3" fmla="*/ 39 h 40"/>
                  <a:gd name="T4" fmla="*/ 1 w 32"/>
                  <a:gd name="T5" fmla="*/ 30 h 40"/>
                  <a:gd name="T6" fmla="*/ 21 w 32"/>
                  <a:gd name="T7" fmla="*/ 3 h 40"/>
                  <a:gd name="T8" fmla="*/ 29 w 32"/>
                  <a:gd name="T9" fmla="*/ 2 h 40"/>
                  <a:gd name="T10" fmla="*/ 30 w 32"/>
                  <a:gd name="T11" fmla="*/ 10 h 40"/>
                  <a:gd name="T12" fmla="*/ 11 w 32"/>
                  <a:gd name="T13" fmla="*/ 37 h 40"/>
                  <a:gd name="T14" fmla="*/ 6 w 32"/>
                  <a:gd name="T15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" h="40">
                    <a:moveTo>
                      <a:pt x="6" y="40"/>
                    </a:moveTo>
                    <a:cubicBezTo>
                      <a:pt x="5" y="40"/>
                      <a:pt x="4" y="39"/>
                      <a:pt x="3" y="39"/>
                    </a:cubicBezTo>
                    <a:cubicBezTo>
                      <a:pt x="0" y="37"/>
                      <a:pt x="0" y="33"/>
                      <a:pt x="1" y="30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2" y="0"/>
                      <a:pt x="26" y="0"/>
                      <a:pt x="29" y="2"/>
                    </a:cubicBezTo>
                    <a:cubicBezTo>
                      <a:pt x="32" y="4"/>
                      <a:pt x="32" y="7"/>
                      <a:pt x="30" y="10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0" y="39"/>
                      <a:pt x="8" y="40"/>
                      <a:pt x="6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38" name="Freeform 166">
                <a:extLst>
                  <a:ext uri="{FF2B5EF4-FFF2-40B4-BE49-F238E27FC236}">
                    <a16:creationId xmlns:a16="http://schemas.microsoft.com/office/drawing/2014/main" id="{2D1855C2-EAD3-4C41-929F-B8F672DA91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8" y="3375"/>
                <a:ext cx="26" cy="67"/>
              </a:xfrm>
              <a:custGeom>
                <a:avLst/>
                <a:gdLst>
                  <a:gd name="T0" fmla="*/ 11 w 18"/>
                  <a:gd name="T1" fmla="*/ 45 h 45"/>
                  <a:gd name="T2" fmla="*/ 5 w 18"/>
                  <a:gd name="T3" fmla="*/ 40 h 45"/>
                  <a:gd name="T4" fmla="*/ 1 w 18"/>
                  <a:gd name="T5" fmla="*/ 8 h 45"/>
                  <a:gd name="T6" fmla="*/ 6 w 18"/>
                  <a:gd name="T7" fmla="*/ 1 h 45"/>
                  <a:gd name="T8" fmla="*/ 12 w 18"/>
                  <a:gd name="T9" fmla="*/ 6 h 45"/>
                  <a:gd name="T10" fmla="*/ 17 w 18"/>
                  <a:gd name="T11" fmla="*/ 39 h 45"/>
                  <a:gd name="T12" fmla="*/ 12 w 18"/>
                  <a:gd name="T13" fmla="*/ 45 h 45"/>
                  <a:gd name="T14" fmla="*/ 11 w 18"/>
                  <a:gd name="T15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45">
                    <a:moveTo>
                      <a:pt x="11" y="45"/>
                    </a:moveTo>
                    <a:cubicBezTo>
                      <a:pt x="8" y="45"/>
                      <a:pt x="6" y="43"/>
                      <a:pt x="5" y="40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4"/>
                      <a:pt x="2" y="1"/>
                      <a:pt x="6" y="1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7" y="39"/>
                      <a:pt x="17" y="39"/>
                      <a:pt x="17" y="39"/>
                    </a:cubicBezTo>
                    <a:cubicBezTo>
                      <a:pt x="18" y="42"/>
                      <a:pt x="15" y="45"/>
                      <a:pt x="12" y="45"/>
                    </a:cubicBezTo>
                    <a:cubicBezTo>
                      <a:pt x="12" y="45"/>
                      <a:pt x="12" y="45"/>
                      <a:pt x="11" y="4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31D7421-4745-4BE5-9079-2D0C06F4B502}"/>
                </a:ext>
              </a:extLst>
            </p:cNvPr>
            <p:cNvSpPr txBox="1"/>
            <p:nvPr/>
          </p:nvSpPr>
          <p:spPr>
            <a:xfrm>
              <a:off x="6238775" y="3199560"/>
              <a:ext cx="2104815" cy="600164"/>
            </a:xfrm>
            <a:prstGeom prst="rect">
              <a:avLst/>
            </a:prstGeom>
            <a:noFill/>
          </p:spPr>
          <p:txBody>
            <a:bodyPr wrap="square" lIns="0" tIns="0" rIns="0" bIns="45720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e lower the number of pesticides detected an area, the higher it scores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AD4054F-525A-4878-B2D5-5682ACF61AFB}"/>
              </a:ext>
            </a:extLst>
          </p:cNvPr>
          <p:cNvGrpSpPr/>
          <p:nvPr/>
        </p:nvGrpSpPr>
        <p:grpSpPr>
          <a:xfrm>
            <a:off x="7488816" y="2099916"/>
            <a:ext cx="2504452" cy="1573675"/>
            <a:chOff x="8683509" y="2226049"/>
            <a:chExt cx="2504452" cy="1573675"/>
          </a:xfrm>
        </p:grpSpPr>
        <p:sp>
          <p:nvSpPr>
            <p:cNvPr id="40" name="Text Placeholder 15">
              <a:extLst>
                <a:ext uri="{FF2B5EF4-FFF2-40B4-BE49-F238E27FC236}">
                  <a16:creationId xmlns:a16="http://schemas.microsoft.com/office/drawing/2014/main" id="{93E7C2D8-D70C-4E9A-8A80-936BF6272A5E}"/>
                </a:ext>
              </a:extLst>
            </p:cNvPr>
            <p:cNvSpPr txBox="1">
              <a:spLocks/>
            </p:cNvSpPr>
            <p:nvPr/>
          </p:nvSpPr>
          <p:spPr>
            <a:xfrm>
              <a:off x="8683509" y="2852444"/>
              <a:ext cx="2504452" cy="393700"/>
            </a:xfrm>
            <a:prstGeom prst="rect">
              <a:avLst/>
            </a:prstGeom>
          </p:spPr>
          <p:txBody>
            <a:bodyPr/>
            <a:lstStyle>
              <a:lvl1pPr marL="0" indent="0" algn="l" defTabSz="914377" rtl="0" eaLnBrk="1" latinLnBrk="0" hangingPunct="1">
                <a:lnSpc>
                  <a:spcPct val="85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b="1" kern="1200" cap="all" baseline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37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377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3034" indent="-169858" algn="l" defTabSz="914377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46066" indent="-177796" algn="l" defTabSz="914377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Graphik" panose="020B0503030202060203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12750" indent="-17303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377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None/>
                <a:defRPr sz="1200" b="1" kern="1200" cap="all" baseline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7pPr>
              <a:lvl8pPr marL="0" indent="0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377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7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all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Plant diversity</a:t>
              </a:r>
            </a:p>
          </p:txBody>
        </p:sp>
        <p:grpSp>
          <p:nvGrpSpPr>
            <p:cNvPr id="41" name="Group 175">
              <a:extLst>
                <a:ext uri="{FF2B5EF4-FFF2-40B4-BE49-F238E27FC236}">
                  <a16:creationId xmlns:a16="http://schemas.microsoft.com/office/drawing/2014/main" id="{23627531-F778-4652-9FB3-F3249ADFC56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701672" y="2226049"/>
              <a:ext cx="468126" cy="455286"/>
              <a:chOff x="3636" y="3221"/>
              <a:chExt cx="401" cy="390"/>
            </a:xfrm>
            <a:solidFill>
              <a:srgbClr val="2EBEB9"/>
            </a:solidFill>
          </p:grpSpPr>
          <p:sp>
            <p:nvSpPr>
              <p:cNvPr id="43" name="Freeform 176">
                <a:extLst>
                  <a:ext uri="{FF2B5EF4-FFF2-40B4-BE49-F238E27FC236}">
                    <a16:creationId xmlns:a16="http://schemas.microsoft.com/office/drawing/2014/main" id="{879AAAFF-F060-4523-BFC3-94414ED000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0" y="3354"/>
                <a:ext cx="233" cy="233"/>
              </a:xfrm>
              <a:custGeom>
                <a:avLst/>
                <a:gdLst>
                  <a:gd name="T0" fmla="*/ 7 w 157"/>
                  <a:gd name="T1" fmla="*/ 157 h 157"/>
                  <a:gd name="T2" fmla="*/ 2 w 157"/>
                  <a:gd name="T3" fmla="*/ 155 h 157"/>
                  <a:gd name="T4" fmla="*/ 2 w 157"/>
                  <a:gd name="T5" fmla="*/ 146 h 157"/>
                  <a:gd name="T6" fmla="*/ 146 w 157"/>
                  <a:gd name="T7" fmla="*/ 2 h 157"/>
                  <a:gd name="T8" fmla="*/ 155 w 157"/>
                  <a:gd name="T9" fmla="*/ 2 h 157"/>
                  <a:gd name="T10" fmla="*/ 155 w 157"/>
                  <a:gd name="T11" fmla="*/ 11 h 157"/>
                  <a:gd name="T12" fmla="*/ 11 w 157"/>
                  <a:gd name="T13" fmla="*/ 155 h 157"/>
                  <a:gd name="T14" fmla="*/ 7 w 157"/>
                  <a:gd name="T15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7" h="157">
                    <a:moveTo>
                      <a:pt x="7" y="157"/>
                    </a:moveTo>
                    <a:cubicBezTo>
                      <a:pt x="5" y="157"/>
                      <a:pt x="4" y="156"/>
                      <a:pt x="2" y="155"/>
                    </a:cubicBezTo>
                    <a:cubicBezTo>
                      <a:pt x="0" y="153"/>
                      <a:pt x="0" y="149"/>
                      <a:pt x="2" y="146"/>
                    </a:cubicBezTo>
                    <a:cubicBezTo>
                      <a:pt x="146" y="2"/>
                      <a:pt x="146" y="2"/>
                      <a:pt x="146" y="2"/>
                    </a:cubicBezTo>
                    <a:cubicBezTo>
                      <a:pt x="149" y="0"/>
                      <a:pt x="153" y="0"/>
                      <a:pt x="155" y="2"/>
                    </a:cubicBezTo>
                    <a:cubicBezTo>
                      <a:pt x="157" y="5"/>
                      <a:pt x="157" y="9"/>
                      <a:pt x="155" y="11"/>
                    </a:cubicBezTo>
                    <a:cubicBezTo>
                      <a:pt x="11" y="155"/>
                      <a:pt x="11" y="155"/>
                      <a:pt x="11" y="155"/>
                    </a:cubicBezTo>
                    <a:cubicBezTo>
                      <a:pt x="10" y="156"/>
                      <a:pt x="8" y="157"/>
                      <a:pt x="7" y="1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44" name="Freeform 177">
                <a:extLst>
                  <a:ext uri="{FF2B5EF4-FFF2-40B4-BE49-F238E27FC236}">
                    <a16:creationId xmlns:a16="http://schemas.microsoft.com/office/drawing/2014/main" id="{2BD05D37-C376-4159-A3CE-5239867C88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36" y="3221"/>
                <a:ext cx="401" cy="390"/>
              </a:xfrm>
              <a:custGeom>
                <a:avLst/>
                <a:gdLst>
                  <a:gd name="T0" fmla="*/ 114 w 270"/>
                  <a:gd name="T1" fmla="*/ 263 h 263"/>
                  <a:gd name="T2" fmla="*/ 36 w 270"/>
                  <a:gd name="T3" fmla="*/ 236 h 263"/>
                  <a:gd name="T4" fmla="*/ 35 w 270"/>
                  <a:gd name="T5" fmla="*/ 234 h 263"/>
                  <a:gd name="T6" fmla="*/ 16 w 270"/>
                  <a:gd name="T7" fmla="*/ 117 h 263"/>
                  <a:gd name="T8" fmla="*/ 263 w 270"/>
                  <a:gd name="T9" fmla="*/ 1 h 263"/>
                  <a:gd name="T10" fmla="*/ 268 w 270"/>
                  <a:gd name="T11" fmla="*/ 2 h 263"/>
                  <a:gd name="T12" fmla="*/ 270 w 270"/>
                  <a:gd name="T13" fmla="*/ 7 h 263"/>
                  <a:gd name="T14" fmla="*/ 153 w 270"/>
                  <a:gd name="T15" fmla="*/ 254 h 263"/>
                  <a:gd name="T16" fmla="*/ 114 w 270"/>
                  <a:gd name="T17" fmla="*/ 263 h 263"/>
                  <a:gd name="T18" fmla="*/ 44 w 270"/>
                  <a:gd name="T19" fmla="*/ 226 h 263"/>
                  <a:gd name="T20" fmla="*/ 148 w 270"/>
                  <a:gd name="T21" fmla="*/ 243 h 263"/>
                  <a:gd name="T22" fmla="*/ 257 w 270"/>
                  <a:gd name="T23" fmla="*/ 14 h 263"/>
                  <a:gd name="T24" fmla="*/ 27 w 270"/>
                  <a:gd name="T25" fmla="*/ 123 h 263"/>
                  <a:gd name="T26" fmla="*/ 44 w 270"/>
                  <a:gd name="T27" fmla="*/ 226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0" h="263">
                    <a:moveTo>
                      <a:pt x="114" y="263"/>
                    </a:moveTo>
                    <a:cubicBezTo>
                      <a:pt x="90" y="263"/>
                      <a:pt x="64" y="254"/>
                      <a:pt x="36" y="236"/>
                    </a:cubicBezTo>
                    <a:cubicBezTo>
                      <a:pt x="36" y="235"/>
                      <a:pt x="35" y="235"/>
                      <a:pt x="35" y="234"/>
                    </a:cubicBezTo>
                    <a:cubicBezTo>
                      <a:pt x="6" y="191"/>
                      <a:pt x="0" y="152"/>
                      <a:pt x="16" y="117"/>
                    </a:cubicBezTo>
                    <a:cubicBezTo>
                      <a:pt x="60" y="24"/>
                      <a:pt x="255" y="2"/>
                      <a:pt x="263" y="1"/>
                    </a:cubicBezTo>
                    <a:cubicBezTo>
                      <a:pt x="265" y="0"/>
                      <a:pt x="267" y="1"/>
                      <a:pt x="268" y="2"/>
                    </a:cubicBezTo>
                    <a:cubicBezTo>
                      <a:pt x="269" y="4"/>
                      <a:pt x="270" y="5"/>
                      <a:pt x="270" y="7"/>
                    </a:cubicBezTo>
                    <a:cubicBezTo>
                      <a:pt x="269" y="16"/>
                      <a:pt x="246" y="210"/>
                      <a:pt x="153" y="254"/>
                    </a:cubicBezTo>
                    <a:cubicBezTo>
                      <a:pt x="140" y="260"/>
                      <a:pt x="127" y="263"/>
                      <a:pt x="114" y="263"/>
                    </a:cubicBezTo>
                    <a:close/>
                    <a:moveTo>
                      <a:pt x="44" y="226"/>
                    </a:moveTo>
                    <a:cubicBezTo>
                      <a:pt x="83" y="251"/>
                      <a:pt x="118" y="257"/>
                      <a:pt x="148" y="243"/>
                    </a:cubicBezTo>
                    <a:cubicBezTo>
                      <a:pt x="225" y="207"/>
                      <a:pt x="252" y="50"/>
                      <a:pt x="257" y="14"/>
                    </a:cubicBezTo>
                    <a:cubicBezTo>
                      <a:pt x="220" y="19"/>
                      <a:pt x="64" y="45"/>
                      <a:pt x="27" y="123"/>
                    </a:cubicBezTo>
                    <a:cubicBezTo>
                      <a:pt x="13" y="152"/>
                      <a:pt x="19" y="187"/>
                      <a:pt x="44" y="2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49" name="Freeform 178">
                <a:extLst>
                  <a:ext uri="{FF2B5EF4-FFF2-40B4-BE49-F238E27FC236}">
                    <a16:creationId xmlns:a16="http://schemas.microsoft.com/office/drawing/2014/main" id="{DB4B06F9-7830-4928-9571-45C163C1E3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3" y="3409"/>
                <a:ext cx="107" cy="107"/>
              </a:xfrm>
              <a:custGeom>
                <a:avLst/>
                <a:gdLst>
                  <a:gd name="T0" fmla="*/ 66 w 72"/>
                  <a:gd name="T1" fmla="*/ 72 h 72"/>
                  <a:gd name="T2" fmla="*/ 6 w 72"/>
                  <a:gd name="T3" fmla="*/ 72 h 72"/>
                  <a:gd name="T4" fmla="*/ 0 w 72"/>
                  <a:gd name="T5" fmla="*/ 66 h 72"/>
                  <a:gd name="T6" fmla="*/ 0 w 72"/>
                  <a:gd name="T7" fmla="*/ 6 h 72"/>
                  <a:gd name="T8" fmla="*/ 6 w 72"/>
                  <a:gd name="T9" fmla="*/ 0 h 72"/>
                  <a:gd name="T10" fmla="*/ 12 w 72"/>
                  <a:gd name="T11" fmla="*/ 6 h 72"/>
                  <a:gd name="T12" fmla="*/ 12 w 72"/>
                  <a:gd name="T13" fmla="*/ 60 h 72"/>
                  <a:gd name="T14" fmla="*/ 66 w 72"/>
                  <a:gd name="T15" fmla="*/ 60 h 72"/>
                  <a:gd name="T16" fmla="*/ 72 w 72"/>
                  <a:gd name="T17" fmla="*/ 66 h 72"/>
                  <a:gd name="T18" fmla="*/ 66 w 72"/>
                  <a:gd name="T1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66" y="72"/>
                    </a:moveTo>
                    <a:cubicBezTo>
                      <a:pt x="6" y="72"/>
                      <a:pt x="6" y="72"/>
                      <a:pt x="6" y="72"/>
                    </a:cubicBezTo>
                    <a:cubicBezTo>
                      <a:pt x="2" y="72"/>
                      <a:pt x="0" y="69"/>
                      <a:pt x="0" y="6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9" y="60"/>
                      <a:pt x="72" y="62"/>
                      <a:pt x="72" y="66"/>
                    </a:cubicBezTo>
                    <a:cubicBezTo>
                      <a:pt x="72" y="69"/>
                      <a:pt x="69" y="72"/>
                      <a:pt x="66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50" name="Freeform 179">
                <a:extLst>
                  <a:ext uri="{FF2B5EF4-FFF2-40B4-BE49-F238E27FC236}">
                    <a16:creationId xmlns:a16="http://schemas.microsoft.com/office/drawing/2014/main" id="{A1B46F74-F9CD-40BE-AFF9-1961F48999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4" y="3365"/>
                <a:ext cx="80" cy="80"/>
              </a:xfrm>
              <a:custGeom>
                <a:avLst/>
                <a:gdLst>
                  <a:gd name="T0" fmla="*/ 48 w 54"/>
                  <a:gd name="T1" fmla="*/ 54 h 54"/>
                  <a:gd name="T2" fmla="*/ 6 w 54"/>
                  <a:gd name="T3" fmla="*/ 54 h 54"/>
                  <a:gd name="T4" fmla="*/ 0 w 54"/>
                  <a:gd name="T5" fmla="*/ 48 h 54"/>
                  <a:gd name="T6" fmla="*/ 0 w 54"/>
                  <a:gd name="T7" fmla="*/ 6 h 54"/>
                  <a:gd name="T8" fmla="*/ 6 w 54"/>
                  <a:gd name="T9" fmla="*/ 0 h 54"/>
                  <a:gd name="T10" fmla="*/ 12 w 54"/>
                  <a:gd name="T11" fmla="*/ 6 h 54"/>
                  <a:gd name="T12" fmla="*/ 12 w 54"/>
                  <a:gd name="T13" fmla="*/ 42 h 54"/>
                  <a:gd name="T14" fmla="*/ 48 w 54"/>
                  <a:gd name="T15" fmla="*/ 42 h 54"/>
                  <a:gd name="T16" fmla="*/ 54 w 54"/>
                  <a:gd name="T17" fmla="*/ 48 h 54"/>
                  <a:gd name="T18" fmla="*/ 48 w 54"/>
                  <a:gd name="T1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4" h="54">
                    <a:moveTo>
                      <a:pt x="48" y="54"/>
                    </a:moveTo>
                    <a:cubicBezTo>
                      <a:pt x="6" y="54"/>
                      <a:pt x="6" y="54"/>
                      <a:pt x="6" y="54"/>
                    </a:cubicBezTo>
                    <a:cubicBezTo>
                      <a:pt x="2" y="54"/>
                      <a:pt x="0" y="51"/>
                      <a:pt x="0" y="4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48" y="42"/>
                      <a:pt x="48" y="42"/>
                      <a:pt x="48" y="42"/>
                    </a:cubicBezTo>
                    <a:cubicBezTo>
                      <a:pt x="51" y="42"/>
                      <a:pt x="54" y="44"/>
                      <a:pt x="54" y="48"/>
                    </a:cubicBezTo>
                    <a:cubicBezTo>
                      <a:pt x="54" y="51"/>
                      <a:pt x="51" y="54"/>
                      <a:pt x="48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51" name="Freeform 180">
                <a:extLst>
                  <a:ext uri="{FF2B5EF4-FFF2-40B4-BE49-F238E27FC236}">
                    <a16:creationId xmlns:a16="http://schemas.microsoft.com/office/drawing/2014/main" id="{08BDD2F8-A88F-4AA3-9CAE-000CF3CCA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6" y="3329"/>
                <a:ext cx="44" cy="45"/>
              </a:xfrm>
              <a:custGeom>
                <a:avLst/>
                <a:gdLst>
                  <a:gd name="T0" fmla="*/ 24 w 30"/>
                  <a:gd name="T1" fmla="*/ 30 h 30"/>
                  <a:gd name="T2" fmla="*/ 6 w 30"/>
                  <a:gd name="T3" fmla="*/ 30 h 30"/>
                  <a:gd name="T4" fmla="*/ 0 w 30"/>
                  <a:gd name="T5" fmla="*/ 24 h 30"/>
                  <a:gd name="T6" fmla="*/ 0 w 30"/>
                  <a:gd name="T7" fmla="*/ 6 h 30"/>
                  <a:gd name="T8" fmla="*/ 6 w 30"/>
                  <a:gd name="T9" fmla="*/ 0 h 30"/>
                  <a:gd name="T10" fmla="*/ 12 w 30"/>
                  <a:gd name="T11" fmla="*/ 6 h 30"/>
                  <a:gd name="T12" fmla="*/ 12 w 30"/>
                  <a:gd name="T13" fmla="*/ 18 h 30"/>
                  <a:gd name="T14" fmla="*/ 24 w 30"/>
                  <a:gd name="T15" fmla="*/ 18 h 30"/>
                  <a:gd name="T16" fmla="*/ 30 w 30"/>
                  <a:gd name="T17" fmla="*/ 24 h 30"/>
                  <a:gd name="T18" fmla="*/ 24 w 30"/>
                  <a:gd name="T19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" h="30">
                    <a:moveTo>
                      <a:pt x="24" y="30"/>
                    </a:moveTo>
                    <a:cubicBezTo>
                      <a:pt x="6" y="30"/>
                      <a:pt x="6" y="30"/>
                      <a:pt x="6" y="30"/>
                    </a:cubicBezTo>
                    <a:cubicBezTo>
                      <a:pt x="2" y="30"/>
                      <a:pt x="0" y="27"/>
                      <a:pt x="0" y="2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7" y="18"/>
                      <a:pt x="30" y="20"/>
                      <a:pt x="30" y="24"/>
                    </a:cubicBezTo>
                    <a:cubicBezTo>
                      <a:pt x="30" y="27"/>
                      <a:pt x="27" y="30"/>
                      <a:pt x="24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33BDF80-2690-4177-B770-09EA15C1D04D}"/>
                </a:ext>
              </a:extLst>
            </p:cNvPr>
            <p:cNvSpPr txBox="1"/>
            <p:nvPr/>
          </p:nvSpPr>
          <p:spPr>
            <a:xfrm>
              <a:off x="8883328" y="3199560"/>
              <a:ext cx="2104815" cy="600164"/>
            </a:xfrm>
            <a:prstGeom prst="rect">
              <a:avLst/>
            </a:prstGeom>
            <a:noFill/>
          </p:spPr>
          <p:txBody>
            <a:bodyPr wrap="square" lIns="0" tIns="0" rIns="0" bIns="45720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e higher the number of different plant species in an area, the higher it scores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CAFF524-5B24-4A04-AE96-767EE79D7E53}"/>
              </a:ext>
            </a:extLst>
          </p:cNvPr>
          <p:cNvSpPr txBox="1"/>
          <p:nvPr/>
        </p:nvSpPr>
        <p:spPr>
          <a:xfrm>
            <a:off x="602169" y="6380076"/>
            <a:ext cx="2944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&amp; BEEODIVERSITY</a:t>
            </a:r>
          </a:p>
        </p:txBody>
      </p:sp>
    </p:spTree>
    <p:extLst>
      <p:ext uri="{BB962C8B-B14F-4D97-AF65-F5344CB8AC3E}">
        <p14:creationId xmlns:p14="http://schemas.microsoft.com/office/powerpoint/2010/main" val="15128091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B4C290F7-F6F6-48DD-8BC2-8BC9189BF55C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6" name="Graphic 4">
            <a:extLst>
              <a:ext uri="{FF2B5EF4-FFF2-40B4-BE49-F238E27FC236}">
                <a16:creationId xmlns:a16="http://schemas.microsoft.com/office/drawing/2014/main" id="{D12ACFF1-EDDC-4770-963D-F678BD4FD5FE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A801D87-091F-414B-9B33-0D96B36AD93A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</a:t>
            </a:r>
            <a:r>
              <a:rPr kumimoji="0" lang="nl-BE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ll</a:t>
            </a:r>
            <a:r>
              <a:rPr kumimoji="0" lang="nl-BE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nl-BE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ights</a:t>
            </a:r>
            <a:r>
              <a:rPr kumimoji="0" lang="nl-BE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nl-BE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eserved</a:t>
            </a:r>
            <a:r>
              <a:rPr kumimoji="0" lang="nl-BE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.</a:t>
            </a: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alpha val="75000"/>
                </a:prst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0C977D9-FD3B-4329-A701-533FD6A25EE8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nl-BE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alpha val="75000"/>
                </a:prst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C9DF6C-78C6-43F0-9B7F-87B36C1B5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76003"/>
            <a:ext cx="11430000" cy="990600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Hackathon Objectives </a:t>
            </a:r>
            <a:br>
              <a:rPr lang="en-US" dirty="0"/>
            </a:br>
            <a:r>
              <a:rPr lang="en-US" dirty="0"/>
              <a:t>So what Data do we have at our disposal?</a:t>
            </a:r>
          </a:p>
        </p:txBody>
      </p:sp>
      <p:pic>
        <p:nvPicPr>
          <p:cNvPr id="52" name="Picture 2" descr="Bijenkasten: welke bijenkast kan je het beste kiezen?">
            <a:extLst>
              <a:ext uri="{FF2B5EF4-FFF2-40B4-BE49-F238E27FC236}">
                <a16:creationId xmlns:a16="http://schemas.microsoft.com/office/drawing/2014/main" id="{C9DCDC52-284C-488D-B254-5DAF6F7454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04" r="30397"/>
          <a:stretch/>
        </p:blipFill>
        <p:spPr bwMode="auto">
          <a:xfrm>
            <a:off x="573024" y="1796230"/>
            <a:ext cx="2344412" cy="2533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46C87BE-D0F0-451E-9452-7218DC8F3225}"/>
              </a:ext>
            </a:extLst>
          </p:cNvPr>
          <p:cNvSpPr txBox="1"/>
          <p:nvPr/>
        </p:nvSpPr>
        <p:spPr>
          <a:xfrm flipH="1">
            <a:off x="527106" y="4413490"/>
            <a:ext cx="23903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298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istorical Data from existing BeeoDiversity  client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41FF08-1E8B-41ED-8164-C643D6142BD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701" r="34822"/>
          <a:stretch/>
        </p:blipFill>
        <p:spPr>
          <a:xfrm>
            <a:off x="3380198" y="1803440"/>
            <a:ext cx="2476067" cy="2552803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7071CF14-67CB-484D-B6C3-00DAF4AC8FB8}"/>
              </a:ext>
            </a:extLst>
          </p:cNvPr>
          <p:cNvSpPr txBox="1"/>
          <p:nvPr/>
        </p:nvSpPr>
        <p:spPr>
          <a:xfrm flipH="1">
            <a:off x="3279386" y="4413490"/>
            <a:ext cx="27309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298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Map Data for existing clients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298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(Corine Land Cover DB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776BD96-5889-47C7-A393-BA9EA2C474B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1449"/>
          <a:stretch/>
        </p:blipFill>
        <p:spPr>
          <a:xfrm>
            <a:off x="6361423" y="1803440"/>
            <a:ext cx="2402434" cy="2527303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6B52D72E-7960-4E37-82F4-86C60457D64F}"/>
              </a:ext>
            </a:extLst>
          </p:cNvPr>
          <p:cNvSpPr txBox="1"/>
          <p:nvPr/>
        </p:nvSpPr>
        <p:spPr>
          <a:xfrm flipH="1">
            <a:off x="6355860" y="4444414"/>
            <a:ext cx="26443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298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Map Data for Belgiu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298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(Corine Land Cover DB)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ABF58CE0-402B-4AFD-84CB-E0A94031305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48833"/>
          <a:stretch/>
        </p:blipFill>
        <p:spPr>
          <a:xfrm>
            <a:off x="9457362" y="1620788"/>
            <a:ext cx="1514003" cy="2652178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08705B98-4362-4875-9445-989BA7E9D3F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1553" b="4838"/>
          <a:stretch/>
        </p:blipFill>
        <p:spPr>
          <a:xfrm>
            <a:off x="10214363" y="2121434"/>
            <a:ext cx="1514003" cy="2260315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63F9AED6-4610-46D2-9777-3EEE85D9C94F}"/>
              </a:ext>
            </a:extLst>
          </p:cNvPr>
          <p:cNvSpPr txBox="1"/>
          <p:nvPr/>
        </p:nvSpPr>
        <p:spPr>
          <a:xfrm flipH="1">
            <a:off x="9381600" y="4444414"/>
            <a:ext cx="25621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298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anular legend for each land are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E5C8921-01AC-49FF-BC8E-CCEB1398439E}"/>
              </a:ext>
            </a:extLst>
          </p:cNvPr>
          <p:cNvSpPr txBox="1"/>
          <p:nvPr/>
        </p:nvSpPr>
        <p:spPr>
          <a:xfrm>
            <a:off x="602169" y="6380076"/>
            <a:ext cx="2944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&amp; BEEODIVERSITY</a:t>
            </a:r>
          </a:p>
        </p:txBody>
      </p:sp>
    </p:spTree>
    <p:extLst>
      <p:ext uri="{BB962C8B-B14F-4D97-AF65-F5344CB8AC3E}">
        <p14:creationId xmlns:p14="http://schemas.microsoft.com/office/powerpoint/2010/main" val="18408005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B4C290F7-F6F6-48DD-8BC2-8BC9189BF55C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6" name="Graphic 4">
            <a:extLst>
              <a:ext uri="{FF2B5EF4-FFF2-40B4-BE49-F238E27FC236}">
                <a16:creationId xmlns:a16="http://schemas.microsoft.com/office/drawing/2014/main" id="{D12ACFF1-EDDC-4770-963D-F678BD4FD5FE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A801D87-091F-414B-9B33-0D96B36AD93A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</a:t>
            </a:r>
            <a:r>
              <a:rPr kumimoji="0" lang="nl-BE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ll</a:t>
            </a:r>
            <a:r>
              <a:rPr kumimoji="0" lang="nl-BE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nl-BE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ights</a:t>
            </a:r>
            <a:r>
              <a:rPr kumimoji="0" lang="nl-BE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nl-BE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eserved</a:t>
            </a:r>
            <a:r>
              <a:rPr kumimoji="0" lang="nl-BE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.</a:t>
            </a: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alpha val="75000"/>
                </a:prst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0C977D9-FD3B-4329-A701-533FD6A25EE8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nl-BE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alpha val="7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alpha val="75000"/>
                </a:prst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C9DF6C-78C6-43F0-9B7F-87B36C1B5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76003"/>
            <a:ext cx="11430000" cy="990600"/>
          </a:xfrm>
        </p:spPr>
        <p:txBody>
          <a:bodyPr>
            <a:normAutofit/>
          </a:bodyPr>
          <a:lstStyle/>
          <a:p>
            <a:r>
              <a:rPr lang="en-US"/>
              <a:t>So what Data do we have at our disposal?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E169C6B-FC53-4B6B-834C-DCA44A734E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1449"/>
          <a:stretch/>
        </p:blipFill>
        <p:spPr>
          <a:xfrm>
            <a:off x="0" y="0"/>
            <a:ext cx="12192000" cy="1282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723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B4C290F7-F6F6-48DD-8BC2-8BC9189BF55C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6" name="Graphic 4">
            <a:extLst>
              <a:ext uri="{FF2B5EF4-FFF2-40B4-BE49-F238E27FC236}">
                <a16:creationId xmlns:a16="http://schemas.microsoft.com/office/drawing/2014/main" id="{D12ACFF1-EDDC-4770-963D-F678BD4FD5FE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A801D87-091F-414B-9B33-0D96B36AD93A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Copyright © 2021 Accenture.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All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ights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eserved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.</a:t>
            </a:r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0C977D9-FD3B-4329-A701-533FD6A25EE8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nl-BE" sz="800" smtClean="0">
                <a:solidFill>
                  <a:schemeClr val="bg1">
                    <a:alpha val="75000"/>
                  </a:schemeClr>
                </a:solidFill>
              </a:rPr>
              <a:t>7</a:t>
            </a:fld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C9DF6C-78C6-43F0-9B7F-87B36C1B5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76003"/>
            <a:ext cx="11430000" cy="990600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Hackathon Objectives</a:t>
            </a:r>
            <a:br>
              <a:rPr lang="en-US" dirty="0"/>
            </a:br>
            <a:r>
              <a:rPr lang="en-US" dirty="0"/>
              <a:t>Eco Score break down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CFB0E47-F202-4978-AE74-A0E25A71C9D4}"/>
              </a:ext>
            </a:extLst>
          </p:cNvPr>
          <p:cNvSpPr/>
          <p:nvPr/>
        </p:nvSpPr>
        <p:spPr>
          <a:xfrm>
            <a:off x="415620" y="1326536"/>
            <a:ext cx="108017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For a new area, the eco score can be calculated for each of the 3 dimensions 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C201CB60-1459-499C-9166-00AF77E7CFB9}"/>
              </a:ext>
            </a:extLst>
          </p:cNvPr>
          <p:cNvSpPr txBox="1">
            <a:spLocks/>
          </p:cNvSpPr>
          <p:nvPr/>
        </p:nvSpPr>
        <p:spPr>
          <a:xfrm>
            <a:off x="5122641" y="4177235"/>
            <a:ext cx="3657600" cy="393700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esticides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72E02C1D-4B09-49BC-BAD1-C8EA6A6259E9}"/>
              </a:ext>
            </a:extLst>
          </p:cNvPr>
          <p:cNvSpPr txBox="1">
            <a:spLocks/>
          </p:cNvSpPr>
          <p:nvPr/>
        </p:nvSpPr>
        <p:spPr>
          <a:xfrm>
            <a:off x="1249712" y="4177235"/>
            <a:ext cx="3657600" cy="393700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Heavy metals</a:t>
            </a:r>
          </a:p>
        </p:txBody>
      </p:sp>
      <p:grpSp>
        <p:nvGrpSpPr>
          <p:cNvPr id="19" name="Group 175">
            <a:extLst>
              <a:ext uri="{FF2B5EF4-FFF2-40B4-BE49-F238E27FC236}">
                <a16:creationId xmlns:a16="http://schemas.microsoft.com/office/drawing/2014/main" id="{864C3725-96DC-4571-885C-8F6E3FE60F6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76169" y="3550840"/>
            <a:ext cx="468126" cy="455286"/>
            <a:chOff x="3636" y="3221"/>
            <a:chExt cx="401" cy="390"/>
          </a:xfrm>
          <a:solidFill>
            <a:srgbClr val="2EBEB9"/>
          </a:solidFill>
        </p:grpSpPr>
        <p:sp>
          <p:nvSpPr>
            <p:cNvPr id="20" name="Freeform 176">
              <a:extLst>
                <a:ext uri="{FF2B5EF4-FFF2-40B4-BE49-F238E27FC236}">
                  <a16:creationId xmlns:a16="http://schemas.microsoft.com/office/drawing/2014/main" id="{4DD7F9E8-5A66-41FE-A794-9D674EDE6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0" y="3354"/>
              <a:ext cx="233" cy="233"/>
            </a:xfrm>
            <a:custGeom>
              <a:avLst/>
              <a:gdLst>
                <a:gd name="T0" fmla="*/ 7 w 157"/>
                <a:gd name="T1" fmla="*/ 157 h 157"/>
                <a:gd name="T2" fmla="*/ 2 w 157"/>
                <a:gd name="T3" fmla="*/ 155 h 157"/>
                <a:gd name="T4" fmla="*/ 2 w 157"/>
                <a:gd name="T5" fmla="*/ 146 h 157"/>
                <a:gd name="T6" fmla="*/ 146 w 157"/>
                <a:gd name="T7" fmla="*/ 2 h 157"/>
                <a:gd name="T8" fmla="*/ 155 w 157"/>
                <a:gd name="T9" fmla="*/ 2 h 157"/>
                <a:gd name="T10" fmla="*/ 155 w 157"/>
                <a:gd name="T11" fmla="*/ 11 h 157"/>
                <a:gd name="T12" fmla="*/ 11 w 157"/>
                <a:gd name="T13" fmla="*/ 155 h 157"/>
                <a:gd name="T14" fmla="*/ 7 w 157"/>
                <a:gd name="T15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7" h="157">
                  <a:moveTo>
                    <a:pt x="7" y="157"/>
                  </a:moveTo>
                  <a:cubicBezTo>
                    <a:pt x="5" y="157"/>
                    <a:pt x="4" y="156"/>
                    <a:pt x="2" y="155"/>
                  </a:cubicBezTo>
                  <a:cubicBezTo>
                    <a:pt x="0" y="153"/>
                    <a:pt x="0" y="149"/>
                    <a:pt x="2" y="146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9" y="0"/>
                    <a:pt x="153" y="0"/>
                    <a:pt x="155" y="2"/>
                  </a:cubicBezTo>
                  <a:cubicBezTo>
                    <a:pt x="157" y="5"/>
                    <a:pt x="157" y="9"/>
                    <a:pt x="155" y="1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0" y="156"/>
                    <a:pt x="8" y="157"/>
                    <a:pt x="7" y="1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77">
              <a:extLst>
                <a:ext uri="{FF2B5EF4-FFF2-40B4-BE49-F238E27FC236}">
                  <a16:creationId xmlns:a16="http://schemas.microsoft.com/office/drawing/2014/main" id="{93BE632B-A597-4E8D-8803-087CD145DC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6" y="3221"/>
              <a:ext cx="401" cy="390"/>
            </a:xfrm>
            <a:custGeom>
              <a:avLst/>
              <a:gdLst>
                <a:gd name="T0" fmla="*/ 114 w 270"/>
                <a:gd name="T1" fmla="*/ 263 h 263"/>
                <a:gd name="T2" fmla="*/ 36 w 270"/>
                <a:gd name="T3" fmla="*/ 236 h 263"/>
                <a:gd name="T4" fmla="*/ 35 w 270"/>
                <a:gd name="T5" fmla="*/ 234 h 263"/>
                <a:gd name="T6" fmla="*/ 16 w 270"/>
                <a:gd name="T7" fmla="*/ 117 h 263"/>
                <a:gd name="T8" fmla="*/ 263 w 270"/>
                <a:gd name="T9" fmla="*/ 1 h 263"/>
                <a:gd name="T10" fmla="*/ 268 w 270"/>
                <a:gd name="T11" fmla="*/ 2 h 263"/>
                <a:gd name="T12" fmla="*/ 270 w 270"/>
                <a:gd name="T13" fmla="*/ 7 h 263"/>
                <a:gd name="T14" fmla="*/ 153 w 270"/>
                <a:gd name="T15" fmla="*/ 254 h 263"/>
                <a:gd name="T16" fmla="*/ 114 w 270"/>
                <a:gd name="T17" fmla="*/ 263 h 263"/>
                <a:gd name="T18" fmla="*/ 44 w 270"/>
                <a:gd name="T19" fmla="*/ 226 h 263"/>
                <a:gd name="T20" fmla="*/ 148 w 270"/>
                <a:gd name="T21" fmla="*/ 243 h 263"/>
                <a:gd name="T22" fmla="*/ 257 w 270"/>
                <a:gd name="T23" fmla="*/ 14 h 263"/>
                <a:gd name="T24" fmla="*/ 27 w 270"/>
                <a:gd name="T25" fmla="*/ 123 h 263"/>
                <a:gd name="T26" fmla="*/ 44 w 270"/>
                <a:gd name="T27" fmla="*/ 226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0" h="263">
                  <a:moveTo>
                    <a:pt x="114" y="263"/>
                  </a:moveTo>
                  <a:cubicBezTo>
                    <a:pt x="90" y="263"/>
                    <a:pt x="64" y="254"/>
                    <a:pt x="36" y="236"/>
                  </a:cubicBezTo>
                  <a:cubicBezTo>
                    <a:pt x="36" y="235"/>
                    <a:pt x="35" y="235"/>
                    <a:pt x="35" y="234"/>
                  </a:cubicBezTo>
                  <a:cubicBezTo>
                    <a:pt x="6" y="191"/>
                    <a:pt x="0" y="152"/>
                    <a:pt x="16" y="117"/>
                  </a:cubicBezTo>
                  <a:cubicBezTo>
                    <a:pt x="60" y="24"/>
                    <a:pt x="255" y="2"/>
                    <a:pt x="263" y="1"/>
                  </a:cubicBezTo>
                  <a:cubicBezTo>
                    <a:pt x="265" y="0"/>
                    <a:pt x="267" y="1"/>
                    <a:pt x="268" y="2"/>
                  </a:cubicBezTo>
                  <a:cubicBezTo>
                    <a:pt x="269" y="4"/>
                    <a:pt x="270" y="5"/>
                    <a:pt x="270" y="7"/>
                  </a:cubicBezTo>
                  <a:cubicBezTo>
                    <a:pt x="269" y="16"/>
                    <a:pt x="246" y="210"/>
                    <a:pt x="153" y="254"/>
                  </a:cubicBezTo>
                  <a:cubicBezTo>
                    <a:pt x="140" y="260"/>
                    <a:pt x="127" y="263"/>
                    <a:pt x="114" y="263"/>
                  </a:cubicBezTo>
                  <a:close/>
                  <a:moveTo>
                    <a:pt x="44" y="226"/>
                  </a:moveTo>
                  <a:cubicBezTo>
                    <a:pt x="83" y="251"/>
                    <a:pt x="118" y="257"/>
                    <a:pt x="148" y="243"/>
                  </a:cubicBezTo>
                  <a:cubicBezTo>
                    <a:pt x="225" y="207"/>
                    <a:pt x="252" y="50"/>
                    <a:pt x="257" y="14"/>
                  </a:cubicBezTo>
                  <a:cubicBezTo>
                    <a:pt x="220" y="19"/>
                    <a:pt x="64" y="45"/>
                    <a:pt x="27" y="123"/>
                  </a:cubicBezTo>
                  <a:cubicBezTo>
                    <a:pt x="13" y="152"/>
                    <a:pt x="19" y="187"/>
                    <a:pt x="44" y="2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78">
              <a:extLst>
                <a:ext uri="{FF2B5EF4-FFF2-40B4-BE49-F238E27FC236}">
                  <a16:creationId xmlns:a16="http://schemas.microsoft.com/office/drawing/2014/main" id="{4F9FA693-FD47-4DB9-AEBD-11536EEE5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3" y="3409"/>
              <a:ext cx="107" cy="107"/>
            </a:xfrm>
            <a:custGeom>
              <a:avLst/>
              <a:gdLst>
                <a:gd name="T0" fmla="*/ 66 w 72"/>
                <a:gd name="T1" fmla="*/ 72 h 72"/>
                <a:gd name="T2" fmla="*/ 6 w 72"/>
                <a:gd name="T3" fmla="*/ 72 h 72"/>
                <a:gd name="T4" fmla="*/ 0 w 72"/>
                <a:gd name="T5" fmla="*/ 66 h 72"/>
                <a:gd name="T6" fmla="*/ 0 w 72"/>
                <a:gd name="T7" fmla="*/ 6 h 72"/>
                <a:gd name="T8" fmla="*/ 6 w 72"/>
                <a:gd name="T9" fmla="*/ 0 h 72"/>
                <a:gd name="T10" fmla="*/ 12 w 72"/>
                <a:gd name="T11" fmla="*/ 6 h 72"/>
                <a:gd name="T12" fmla="*/ 12 w 72"/>
                <a:gd name="T13" fmla="*/ 60 h 72"/>
                <a:gd name="T14" fmla="*/ 66 w 72"/>
                <a:gd name="T15" fmla="*/ 60 h 72"/>
                <a:gd name="T16" fmla="*/ 72 w 72"/>
                <a:gd name="T17" fmla="*/ 66 h 72"/>
                <a:gd name="T18" fmla="*/ 66 w 72"/>
                <a:gd name="T1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66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2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9" y="60"/>
                    <a:pt x="72" y="62"/>
                    <a:pt x="72" y="66"/>
                  </a:cubicBezTo>
                  <a:cubicBezTo>
                    <a:pt x="72" y="69"/>
                    <a:pt x="69" y="72"/>
                    <a:pt x="66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9">
              <a:extLst>
                <a:ext uri="{FF2B5EF4-FFF2-40B4-BE49-F238E27FC236}">
                  <a16:creationId xmlns:a16="http://schemas.microsoft.com/office/drawing/2014/main" id="{40EC035B-1FB0-4F4E-A9EE-8179CF427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4" y="3365"/>
              <a:ext cx="80" cy="80"/>
            </a:xfrm>
            <a:custGeom>
              <a:avLst/>
              <a:gdLst>
                <a:gd name="T0" fmla="*/ 48 w 54"/>
                <a:gd name="T1" fmla="*/ 54 h 54"/>
                <a:gd name="T2" fmla="*/ 6 w 54"/>
                <a:gd name="T3" fmla="*/ 54 h 54"/>
                <a:gd name="T4" fmla="*/ 0 w 54"/>
                <a:gd name="T5" fmla="*/ 48 h 54"/>
                <a:gd name="T6" fmla="*/ 0 w 54"/>
                <a:gd name="T7" fmla="*/ 6 h 54"/>
                <a:gd name="T8" fmla="*/ 6 w 54"/>
                <a:gd name="T9" fmla="*/ 0 h 54"/>
                <a:gd name="T10" fmla="*/ 12 w 54"/>
                <a:gd name="T11" fmla="*/ 6 h 54"/>
                <a:gd name="T12" fmla="*/ 12 w 54"/>
                <a:gd name="T13" fmla="*/ 42 h 54"/>
                <a:gd name="T14" fmla="*/ 48 w 54"/>
                <a:gd name="T15" fmla="*/ 42 h 54"/>
                <a:gd name="T16" fmla="*/ 54 w 54"/>
                <a:gd name="T17" fmla="*/ 48 h 54"/>
                <a:gd name="T18" fmla="*/ 48 w 54"/>
                <a:gd name="T1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4">
                  <a:moveTo>
                    <a:pt x="48" y="54"/>
                  </a:moveTo>
                  <a:cubicBezTo>
                    <a:pt x="6" y="54"/>
                    <a:pt x="6" y="54"/>
                    <a:pt x="6" y="54"/>
                  </a:cubicBezTo>
                  <a:cubicBezTo>
                    <a:pt x="2" y="54"/>
                    <a:pt x="0" y="51"/>
                    <a:pt x="0" y="4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51" y="42"/>
                    <a:pt x="54" y="44"/>
                    <a:pt x="54" y="48"/>
                  </a:cubicBezTo>
                  <a:cubicBezTo>
                    <a:pt x="54" y="51"/>
                    <a:pt x="51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0">
              <a:extLst>
                <a:ext uri="{FF2B5EF4-FFF2-40B4-BE49-F238E27FC236}">
                  <a16:creationId xmlns:a16="http://schemas.microsoft.com/office/drawing/2014/main" id="{11A65DFE-3FF6-433B-AA18-2E948B186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" y="3329"/>
              <a:ext cx="44" cy="45"/>
            </a:xfrm>
            <a:custGeom>
              <a:avLst/>
              <a:gdLst>
                <a:gd name="T0" fmla="*/ 24 w 30"/>
                <a:gd name="T1" fmla="*/ 30 h 30"/>
                <a:gd name="T2" fmla="*/ 6 w 30"/>
                <a:gd name="T3" fmla="*/ 30 h 30"/>
                <a:gd name="T4" fmla="*/ 0 w 30"/>
                <a:gd name="T5" fmla="*/ 24 h 30"/>
                <a:gd name="T6" fmla="*/ 0 w 30"/>
                <a:gd name="T7" fmla="*/ 6 h 30"/>
                <a:gd name="T8" fmla="*/ 6 w 30"/>
                <a:gd name="T9" fmla="*/ 0 h 30"/>
                <a:gd name="T10" fmla="*/ 12 w 30"/>
                <a:gd name="T11" fmla="*/ 6 h 30"/>
                <a:gd name="T12" fmla="*/ 12 w 30"/>
                <a:gd name="T13" fmla="*/ 18 h 30"/>
                <a:gd name="T14" fmla="*/ 24 w 30"/>
                <a:gd name="T15" fmla="*/ 18 h 30"/>
                <a:gd name="T16" fmla="*/ 30 w 30"/>
                <a:gd name="T17" fmla="*/ 24 h 30"/>
                <a:gd name="T18" fmla="*/ 24 w 30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30">
                  <a:moveTo>
                    <a:pt x="24" y="30"/>
                  </a:moveTo>
                  <a:cubicBezTo>
                    <a:pt x="6" y="30"/>
                    <a:pt x="6" y="30"/>
                    <a:pt x="6" y="30"/>
                  </a:cubicBezTo>
                  <a:cubicBezTo>
                    <a:pt x="2" y="30"/>
                    <a:pt x="0" y="27"/>
                    <a:pt x="0" y="2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7" y="18"/>
                    <a:pt x="30" y="20"/>
                    <a:pt x="30" y="24"/>
                  </a:cubicBezTo>
                  <a:cubicBezTo>
                    <a:pt x="30" y="27"/>
                    <a:pt x="27" y="30"/>
                    <a:pt x="24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Group 40">
            <a:extLst>
              <a:ext uri="{FF2B5EF4-FFF2-40B4-BE49-F238E27FC236}">
                <a16:creationId xmlns:a16="http://schemas.microsoft.com/office/drawing/2014/main" id="{6B153D32-2E19-4240-B5B0-0AA9E7A9D80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950687" y="3494805"/>
            <a:ext cx="499646" cy="499646"/>
            <a:chOff x="3630" y="646"/>
            <a:chExt cx="428" cy="428"/>
          </a:xfrm>
          <a:solidFill>
            <a:srgbClr val="2EBEB9"/>
          </a:solidFill>
        </p:grpSpPr>
        <p:sp>
          <p:nvSpPr>
            <p:cNvPr id="26" name="Freeform 41">
              <a:extLst>
                <a:ext uri="{FF2B5EF4-FFF2-40B4-BE49-F238E27FC236}">
                  <a16:creationId xmlns:a16="http://schemas.microsoft.com/office/drawing/2014/main" id="{B73573AB-9AB4-47DB-95DC-34F94396AF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1" y="646"/>
              <a:ext cx="194" cy="162"/>
            </a:xfrm>
            <a:custGeom>
              <a:avLst/>
              <a:gdLst>
                <a:gd name="T0" fmla="*/ 40 w 131"/>
                <a:gd name="T1" fmla="*/ 109 h 109"/>
                <a:gd name="T2" fmla="*/ 12 w 131"/>
                <a:gd name="T3" fmla="*/ 98 h 109"/>
                <a:gd name="T4" fmla="*/ 11 w 131"/>
                <a:gd name="T5" fmla="*/ 58 h 109"/>
                <a:gd name="T6" fmla="*/ 5 w 131"/>
                <a:gd name="T7" fmla="*/ 18 h 109"/>
                <a:gd name="T8" fmla="*/ 37 w 131"/>
                <a:gd name="T9" fmla="*/ 1 h 109"/>
                <a:gd name="T10" fmla="*/ 37 w 131"/>
                <a:gd name="T11" fmla="*/ 1 h 109"/>
                <a:gd name="T12" fmla="*/ 83 w 131"/>
                <a:gd name="T13" fmla="*/ 15 h 109"/>
                <a:gd name="T14" fmla="*/ 125 w 131"/>
                <a:gd name="T15" fmla="*/ 30 h 109"/>
                <a:gd name="T16" fmla="*/ 129 w 131"/>
                <a:gd name="T17" fmla="*/ 32 h 109"/>
                <a:gd name="T18" fmla="*/ 130 w 131"/>
                <a:gd name="T19" fmla="*/ 37 h 109"/>
                <a:gd name="T20" fmla="*/ 47 w 131"/>
                <a:gd name="T21" fmla="*/ 109 h 109"/>
                <a:gd name="T22" fmla="*/ 40 w 131"/>
                <a:gd name="T23" fmla="*/ 109 h 109"/>
                <a:gd name="T24" fmla="*/ 38 w 131"/>
                <a:gd name="T25" fmla="*/ 13 h 109"/>
                <a:gd name="T26" fmla="*/ 16 w 131"/>
                <a:gd name="T27" fmla="*/ 24 h 109"/>
                <a:gd name="T28" fmla="*/ 23 w 131"/>
                <a:gd name="T29" fmla="*/ 54 h 109"/>
                <a:gd name="T30" fmla="*/ 24 w 131"/>
                <a:gd name="T31" fmla="*/ 59 h 109"/>
                <a:gd name="T32" fmla="*/ 21 w 131"/>
                <a:gd name="T33" fmla="*/ 91 h 109"/>
                <a:gd name="T34" fmla="*/ 46 w 131"/>
                <a:gd name="T35" fmla="*/ 97 h 109"/>
                <a:gd name="T36" fmla="*/ 116 w 131"/>
                <a:gd name="T37" fmla="*/ 40 h 109"/>
                <a:gd name="T38" fmla="*/ 77 w 131"/>
                <a:gd name="T39" fmla="*/ 25 h 109"/>
                <a:gd name="T40" fmla="*/ 38 w 131"/>
                <a:gd name="T41" fmla="*/ 1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1" h="109">
                  <a:moveTo>
                    <a:pt x="40" y="109"/>
                  </a:moveTo>
                  <a:cubicBezTo>
                    <a:pt x="27" y="109"/>
                    <a:pt x="17" y="105"/>
                    <a:pt x="12" y="98"/>
                  </a:cubicBezTo>
                  <a:cubicBezTo>
                    <a:pt x="5" y="89"/>
                    <a:pt x="5" y="76"/>
                    <a:pt x="11" y="58"/>
                  </a:cubicBezTo>
                  <a:cubicBezTo>
                    <a:pt x="2" y="42"/>
                    <a:pt x="0" y="29"/>
                    <a:pt x="5" y="18"/>
                  </a:cubicBezTo>
                  <a:cubicBezTo>
                    <a:pt x="10" y="9"/>
                    <a:pt x="21" y="3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54" y="0"/>
                    <a:pt x="68" y="7"/>
                    <a:pt x="83" y="15"/>
                  </a:cubicBezTo>
                  <a:cubicBezTo>
                    <a:pt x="95" y="21"/>
                    <a:pt x="109" y="28"/>
                    <a:pt x="125" y="30"/>
                  </a:cubicBezTo>
                  <a:cubicBezTo>
                    <a:pt x="127" y="30"/>
                    <a:pt x="128" y="31"/>
                    <a:pt x="129" y="32"/>
                  </a:cubicBezTo>
                  <a:cubicBezTo>
                    <a:pt x="131" y="34"/>
                    <a:pt x="131" y="35"/>
                    <a:pt x="130" y="37"/>
                  </a:cubicBezTo>
                  <a:cubicBezTo>
                    <a:pt x="120" y="71"/>
                    <a:pt x="75" y="106"/>
                    <a:pt x="47" y="109"/>
                  </a:cubicBezTo>
                  <a:cubicBezTo>
                    <a:pt x="44" y="109"/>
                    <a:pt x="42" y="109"/>
                    <a:pt x="40" y="109"/>
                  </a:cubicBezTo>
                  <a:close/>
                  <a:moveTo>
                    <a:pt x="38" y="13"/>
                  </a:moveTo>
                  <a:cubicBezTo>
                    <a:pt x="31" y="14"/>
                    <a:pt x="20" y="16"/>
                    <a:pt x="16" y="24"/>
                  </a:cubicBezTo>
                  <a:cubicBezTo>
                    <a:pt x="13" y="30"/>
                    <a:pt x="15" y="41"/>
                    <a:pt x="23" y="54"/>
                  </a:cubicBezTo>
                  <a:cubicBezTo>
                    <a:pt x="24" y="56"/>
                    <a:pt x="24" y="58"/>
                    <a:pt x="24" y="59"/>
                  </a:cubicBezTo>
                  <a:cubicBezTo>
                    <a:pt x="18" y="74"/>
                    <a:pt x="17" y="85"/>
                    <a:pt x="21" y="91"/>
                  </a:cubicBezTo>
                  <a:cubicBezTo>
                    <a:pt x="26" y="97"/>
                    <a:pt x="37" y="98"/>
                    <a:pt x="46" y="97"/>
                  </a:cubicBezTo>
                  <a:cubicBezTo>
                    <a:pt x="67" y="95"/>
                    <a:pt x="104" y="67"/>
                    <a:pt x="116" y="40"/>
                  </a:cubicBezTo>
                  <a:cubicBezTo>
                    <a:pt x="101" y="38"/>
                    <a:pt x="88" y="31"/>
                    <a:pt x="77" y="25"/>
                  </a:cubicBezTo>
                  <a:cubicBezTo>
                    <a:pt x="63" y="18"/>
                    <a:pt x="52" y="12"/>
                    <a:pt x="3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42">
              <a:extLst>
                <a:ext uri="{FF2B5EF4-FFF2-40B4-BE49-F238E27FC236}">
                  <a16:creationId xmlns:a16="http://schemas.microsoft.com/office/drawing/2014/main" id="{A54E9602-1D31-4C6D-9C30-D45823AC8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9" y="694"/>
              <a:ext cx="211" cy="89"/>
            </a:xfrm>
            <a:custGeom>
              <a:avLst/>
              <a:gdLst>
                <a:gd name="T0" fmla="*/ 7 w 142"/>
                <a:gd name="T1" fmla="*/ 60 h 60"/>
                <a:gd name="T2" fmla="*/ 2 w 142"/>
                <a:gd name="T3" fmla="*/ 57 h 60"/>
                <a:gd name="T4" fmla="*/ 4 w 142"/>
                <a:gd name="T5" fmla="*/ 49 h 60"/>
                <a:gd name="T6" fmla="*/ 137 w 142"/>
                <a:gd name="T7" fmla="*/ 12 h 60"/>
                <a:gd name="T8" fmla="*/ 142 w 142"/>
                <a:gd name="T9" fmla="*/ 19 h 60"/>
                <a:gd name="T10" fmla="*/ 134 w 142"/>
                <a:gd name="T11" fmla="*/ 23 h 60"/>
                <a:gd name="T12" fmla="*/ 10 w 142"/>
                <a:gd name="T13" fmla="*/ 59 h 60"/>
                <a:gd name="T14" fmla="*/ 7 w 142"/>
                <a:gd name="T1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60">
                  <a:moveTo>
                    <a:pt x="7" y="60"/>
                  </a:moveTo>
                  <a:cubicBezTo>
                    <a:pt x="5" y="60"/>
                    <a:pt x="3" y="59"/>
                    <a:pt x="2" y="57"/>
                  </a:cubicBezTo>
                  <a:cubicBezTo>
                    <a:pt x="0" y="54"/>
                    <a:pt x="1" y="51"/>
                    <a:pt x="4" y="49"/>
                  </a:cubicBezTo>
                  <a:cubicBezTo>
                    <a:pt x="7" y="47"/>
                    <a:pt x="90" y="0"/>
                    <a:pt x="137" y="12"/>
                  </a:cubicBezTo>
                  <a:cubicBezTo>
                    <a:pt x="140" y="12"/>
                    <a:pt x="142" y="16"/>
                    <a:pt x="142" y="19"/>
                  </a:cubicBezTo>
                  <a:cubicBezTo>
                    <a:pt x="141" y="22"/>
                    <a:pt x="138" y="24"/>
                    <a:pt x="134" y="23"/>
                  </a:cubicBezTo>
                  <a:cubicBezTo>
                    <a:pt x="92" y="13"/>
                    <a:pt x="11" y="59"/>
                    <a:pt x="10" y="59"/>
                  </a:cubicBezTo>
                  <a:cubicBezTo>
                    <a:pt x="9" y="60"/>
                    <a:pt x="8" y="60"/>
                    <a:pt x="7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43">
              <a:extLst>
                <a:ext uri="{FF2B5EF4-FFF2-40B4-BE49-F238E27FC236}">
                  <a16:creationId xmlns:a16="http://schemas.microsoft.com/office/drawing/2014/main" id="{82EF8CB7-2D9F-4F6F-B712-A5DADEEBC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967"/>
              <a:ext cx="44" cy="18"/>
            </a:xfrm>
            <a:custGeom>
              <a:avLst/>
              <a:gdLst>
                <a:gd name="T0" fmla="*/ 24 w 30"/>
                <a:gd name="T1" fmla="*/ 12 h 12"/>
                <a:gd name="T2" fmla="*/ 6 w 30"/>
                <a:gd name="T3" fmla="*/ 12 h 12"/>
                <a:gd name="T4" fmla="*/ 0 w 30"/>
                <a:gd name="T5" fmla="*/ 6 h 12"/>
                <a:gd name="T6" fmla="*/ 6 w 30"/>
                <a:gd name="T7" fmla="*/ 0 h 12"/>
                <a:gd name="T8" fmla="*/ 24 w 30"/>
                <a:gd name="T9" fmla="*/ 0 h 12"/>
                <a:gd name="T10" fmla="*/ 30 w 30"/>
                <a:gd name="T11" fmla="*/ 6 h 12"/>
                <a:gd name="T12" fmla="*/ 24 w 3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2">
                  <a:moveTo>
                    <a:pt x="2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30" y="3"/>
                    <a:pt x="30" y="6"/>
                  </a:cubicBezTo>
                  <a:cubicBezTo>
                    <a:pt x="30" y="9"/>
                    <a:pt x="27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44">
              <a:extLst>
                <a:ext uri="{FF2B5EF4-FFF2-40B4-BE49-F238E27FC236}">
                  <a16:creationId xmlns:a16="http://schemas.microsoft.com/office/drawing/2014/main" id="{D5B391B8-4F99-46B2-BE29-4F0A22AD7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1003"/>
              <a:ext cx="44" cy="18"/>
            </a:xfrm>
            <a:custGeom>
              <a:avLst/>
              <a:gdLst>
                <a:gd name="T0" fmla="*/ 24 w 30"/>
                <a:gd name="T1" fmla="*/ 12 h 12"/>
                <a:gd name="T2" fmla="*/ 6 w 30"/>
                <a:gd name="T3" fmla="*/ 12 h 12"/>
                <a:gd name="T4" fmla="*/ 0 w 30"/>
                <a:gd name="T5" fmla="*/ 6 h 12"/>
                <a:gd name="T6" fmla="*/ 6 w 30"/>
                <a:gd name="T7" fmla="*/ 0 h 12"/>
                <a:gd name="T8" fmla="*/ 24 w 30"/>
                <a:gd name="T9" fmla="*/ 0 h 12"/>
                <a:gd name="T10" fmla="*/ 30 w 30"/>
                <a:gd name="T11" fmla="*/ 6 h 12"/>
                <a:gd name="T12" fmla="*/ 24 w 3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2">
                  <a:moveTo>
                    <a:pt x="2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30" y="3"/>
                    <a:pt x="30" y="6"/>
                  </a:cubicBezTo>
                  <a:cubicBezTo>
                    <a:pt x="30" y="9"/>
                    <a:pt x="27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45">
              <a:extLst>
                <a:ext uri="{FF2B5EF4-FFF2-40B4-BE49-F238E27FC236}">
                  <a16:creationId xmlns:a16="http://schemas.microsoft.com/office/drawing/2014/main" id="{EABF2F70-898E-4728-927B-EF7D99970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2" y="967"/>
              <a:ext cx="44" cy="18"/>
            </a:xfrm>
            <a:custGeom>
              <a:avLst/>
              <a:gdLst>
                <a:gd name="T0" fmla="*/ 24 w 30"/>
                <a:gd name="T1" fmla="*/ 12 h 12"/>
                <a:gd name="T2" fmla="*/ 6 w 30"/>
                <a:gd name="T3" fmla="*/ 12 h 12"/>
                <a:gd name="T4" fmla="*/ 0 w 30"/>
                <a:gd name="T5" fmla="*/ 6 h 12"/>
                <a:gd name="T6" fmla="*/ 6 w 30"/>
                <a:gd name="T7" fmla="*/ 0 h 12"/>
                <a:gd name="T8" fmla="*/ 24 w 30"/>
                <a:gd name="T9" fmla="*/ 0 h 12"/>
                <a:gd name="T10" fmla="*/ 30 w 30"/>
                <a:gd name="T11" fmla="*/ 6 h 12"/>
                <a:gd name="T12" fmla="*/ 24 w 3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2">
                  <a:moveTo>
                    <a:pt x="2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30" y="3"/>
                    <a:pt x="30" y="6"/>
                  </a:cubicBezTo>
                  <a:cubicBezTo>
                    <a:pt x="30" y="9"/>
                    <a:pt x="27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46">
              <a:extLst>
                <a:ext uri="{FF2B5EF4-FFF2-40B4-BE49-F238E27FC236}">
                  <a16:creationId xmlns:a16="http://schemas.microsoft.com/office/drawing/2014/main" id="{8016F8F3-49AE-4317-9226-B335D07FC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2" y="1003"/>
              <a:ext cx="44" cy="18"/>
            </a:xfrm>
            <a:custGeom>
              <a:avLst/>
              <a:gdLst>
                <a:gd name="T0" fmla="*/ 24 w 30"/>
                <a:gd name="T1" fmla="*/ 12 h 12"/>
                <a:gd name="T2" fmla="*/ 6 w 30"/>
                <a:gd name="T3" fmla="*/ 12 h 12"/>
                <a:gd name="T4" fmla="*/ 0 w 30"/>
                <a:gd name="T5" fmla="*/ 6 h 12"/>
                <a:gd name="T6" fmla="*/ 6 w 30"/>
                <a:gd name="T7" fmla="*/ 0 h 12"/>
                <a:gd name="T8" fmla="*/ 24 w 30"/>
                <a:gd name="T9" fmla="*/ 0 h 12"/>
                <a:gd name="T10" fmla="*/ 30 w 30"/>
                <a:gd name="T11" fmla="*/ 6 h 12"/>
                <a:gd name="T12" fmla="*/ 24 w 3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2">
                  <a:moveTo>
                    <a:pt x="2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30" y="3"/>
                    <a:pt x="30" y="6"/>
                  </a:cubicBezTo>
                  <a:cubicBezTo>
                    <a:pt x="30" y="9"/>
                    <a:pt x="27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47">
              <a:extLst>
                <a:ext uri="{FF2B5EF4-FFF2-40B4-BE49-F238E27FC236}">
                  <a16:creationId xmlns:a16="http://schemas.microsoft.com/office/drawing/2014/main" id="{6280A463-32D2-4A67-A498-23F4C096E1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9" y="967"/>
              <a:ext cx="44" cy="18"/>
            </a:xfrm>
            <a:custGeom>
              <a:avLst/>
              <a:gdLst>
                <a:gd name="T0" fmla="*/ 24 w 30"/>
                <a:gd name="T1" fmla="*/ 12 h 12"/>
                <a:gd name="T2" fmla="*/ 6 w 30"/>
                <a:gd name="T3" fmla="*/ 12 h 12"/>
                <a:gd name="T4" fmla="*/ 0 w 30"/>
                <a:gd name="T5" fmla="*/ 6 h 12"/>
                <a:gd name="T6" fmla="*/ 6 w 30"/>
                <a:gd name="T7" fmla="*/ 0 h 12"/>
                <a:gd name="T8" fmla="*/ 24 w 30"/>
                <a:gd name="T9" fmla="*/ 0 h 12"/>
                <a:gd name="T10" fmla="*/ 30 w 30"/>
                <a:gd name="T11" fmla="*/ 6 h 12"/>
                <a:gd name="T12" fmla="*/ 24 w 3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2">
                  <a:moveTo>
                    <a:pt x="2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30" y="3"/>
                    <a:pt x="30" y="6"/>
                  </a:cubicBezTo>
                  <a:cubicBezTo>
                    <a:pt x="30" y="9"/>
                    <a:pt x="27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48">
              <a:extLst>
                <a:ext uri="{FF2B5EF4-FFF2-40B4-BE49-F238E27FC236}">
                  <a16:creationId xmlns:a16="http://schemas.microsoft.com/office/drawing/2014/main" id="{AA27AC9C-4373-4F20-BA17-E19D29E62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9" y="1003"/>
              <a:ext cx="44" cy="18"/>
            </a:xfrm>
            <a:custGeom>
              <a:avLst/>
              <a:gdLst>
                <a:gd name="T0" fmla="*/ 24 w 30"/>
                <a:gd name="T1" fmla="*/ 12 h 12"/>
                <a:gd name="T2" fmla="*/ 6 w 30"/>
                <a:gd name="T3" fmla="*/ 12 h 12"/>
                <a:gd name="T4" fmla="*/ 0 w 30"/>
                <a:gd name="T5" fmla="*/ 6 h 12"/>
                <a:gd name="T6" fmla="*/ 6 w 30"/>
                <a:gd name="T7" fmla="*/ 0 h 12"/>
                <a:gd name="T8" fmla="*/ 24 w 30"/>
                <a:gd name="T9" fmla="*/ 0 h 12"/>
                <a:gd name="T10" fmla="*/ 30 w 30"/>
                <a:gd name="T11" fmla="*/ 6 h 12"/>
                <a:gd name="T12" fmla="*/ 24 w 3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2">
                  <a:moveTo>
                    <a:pt x="2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30" y="3"/>
                    <a:pt x="30" y="6"/>
                  </a:cubicBezTo>
                  <a:cubicBezTo>
                    <a:pt x="30" y="9"/>
                    <a:pt x="27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49">
              <a:extLst>
                <a:ext uri="{FF2B5EF4-FFF2-40B4-BE49-F238E27FC236}">
                  <a16:creationId xmlns:a16="http://schemas.microsoft.com/office/drawing/2014/main" id="{D322543B-284D-4E47-BE7E-3FACD17796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0" y="735"/>
              <a:ext cx="428" cy="339"/>
            </a:xfrm>
            <a:custGeom>
              <a:avLst/>
              <a:gdLst>
                <a:gd name="T0" fmla="*/ 282 w 288"/>
                <a:gd name="T1" fmla="*/ 228 h 228"/>
                <a:gd name="T2" fmla="*/ 6 w 288"/>
                <a:gd name="T3" fmla="*/ 228 h 228"/>
                <a:gd name="T4" fmla="*/ 0 w 288"/>
                <a:gd name="T5" fmla="*/ 222 h 228"/>
                <a:gd name="T6" fmla="*/ 0 w 288"/>
                <a:gd name="T7" fmla="*/ 128 h 228"/>
                <a:gd name="T8" fmla="*/ 0 w 288"/>
                <a:gd name="T9" fmla="*/ 127 h 228"/>
                <a:gd name="T10" fmla="*/ 17 w 288"/>
                <a:gd name="T11" fmla="*/ 5 h 228"/>
                <a:gd name="T12" fmla="*/ 23 w 288"/>
                <a:gd name="T13" fmla="*/ 0 h 228"/>
                <a:gd name="T14" fmla="*/ 52 w 288"/>
                <a:gd name="T15" fmla="*/ 0 h 228"/>
                <a:gd name="T16" fmla="*/ 58 w 288"/>
                <a:gd name="T17" fmla="*/ 5 h 228"/>
                <a:gd name="T18" fmla="*/ 79 w 288"/>
                <a:gd name="T19" fmla="*/ 107 h 228"/>
                <a:gd name="T20" fmla="*/ 135 w 288"/>
                <a:gd name="T21" fmla="*/ 71 h 228"/>
                <a:gd name="T22" fmla="*/ 141 w 288"/>
                <a:gd name="T23" fmla="*/ 70 h 228"/>
                <a:gd name="T24" fmla="*/ 144 w 288"/>
                <a:gd name="T25" fmla="*/ 76 h 228"/>
                <a:gd name="T26" fmla="*/ 144 w 288"/>
                <a:gd name="T27" fmla="*/ 106 h 228"/>
                <a:gd name="T28" fmla="*/ 207 w 288"/>
                <a:gd name="T29" fmla="*/ 71 h 228"/>
                <a:gd name="T30" fmla="*/ 213 w 288"/>
                <a:gd name="T31" fmla="*/ 71 h 228"/>
                <a:gd name="T32" fmla="*/ 216 w 288"/>
                <a:gd name="T33" fmla="*/ 76 h 228"/>
                <a:gd name="T34" fmla="*/ 216 w 288"/>
                <a:gd name="T35" fmla="*/ 107 h 228"/>
                <a:gd name="T36" fmla="*/ 279 w 288"/>
                <a:gd name="T37" fmla="*/ 70 h 228"/>
                <a:gd name="T38" fmla="*/ 285 w 288"/>
                <a:gd name="T39" fmla="*/ 71 h 228"/>
                <a:gd name="T40" fmla="*/ 288 w 288"/>
                <a:gd name="T41" fmla="*/ 76 h 228"/>
                <a:gd name="T42" fmla="*/ 288 w 288"/>
                <a:gd name="T43" fmla="*/ 222 h 228"/>
                <a:gd name="T44" fmla="*/ 282 w 288"/>
                <a:gd name="T45" fmla="*/ 228 h 228"/>
                <a:gd name="T46" fmla="*/ 12 w 288"/>
                <a:gd name="T47" fmla="*/ 216 h 228"/>
                <a:gd name="T48" fmla="*/ 276 w 288"/>
                <a:gd name="T49" fmla="*/ 216 h 228"/>
                <a:gd name="T50" fmla="*/ 276 w 288"/>
                <a:gd name="T51" fmla="*/ 86 h 228"/>
                <a:gd name="T52" fmla="*/ 213 w 288"/>
                <a:gd name="T53" fmla="*/ 122 h 228"/>
                <a:gd name="T54" fmla="*/ 207 w 288"/>
                <a:gd name="T55" fmla="*/ 122 h 228"/>
                <a:gd name="T56" fmla="*/ 204 w 288"/>
                <a:gd name="T57" fmla="*/ 117 h 228"/>
                <a:gd name="T58" fmla="*/ 204 w 288"/>
                <a:gd name="T59" fmla="*/ 86 h 228"/>
                <a:gd name="T60" fmla="*/ 141 w 288"/>
                <a:gd name="T61" fmla="*/ 122 h 228"/>
                <a:gd name="T62" fmla="*/ 135 w 288"/>
                <a:gd name="T63" fmla="*/ 122 h 228"/>
                <a:gd name="T64" fmla="*/ 132 w 288"/>
                <a:gd name="T65" fmla="*/ 117 h 228"/>
                <a:gd name="T66" fmla="*/ 132 w 288"/>
                <a:gd name="T67" fmla="*/ 87 h 228"/>
                <a:gd name="T68" fmla="*/ 78 w 288"/>
                <a:gd name="T69" fmla="*/ 122 h 228"/>
                <a:gd name="T70" fmla="*/ 73 w 288"/>
                <a:gd name="T71" fmla="*/ 122 h 228"/>
                <a:gd name="T72" fmla="*/ 69 w 288"/>
                <a:gd name="T73" fmla="*/ 118 h 228"/>
                <a:gd name="T74" fmla="*/ 47 w 288"/>
                <a:gd name="T75" fmla="*/ 12 h 228"/>
                <a:gd name="T76" fmla="*/ 28 w 288"/>
                <a:gd name="T77" fmla="*/ 12 h 228"/>
                <a:gd name="T78" fmla="*/ 12 w 288"/>
                <a:gd name="T79" fmla="*/ 129 h 228"/>
                <a:gd name="T80" fmla="*/ 12 w 288"/>
                <a:gd name="T81" fmla="*/ 216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88" h="228">
                  <a:moveTo>
                    <a:pt x="282" y="228"/>
                  </a:moveTo>
                  <a:cubicBezTo>
                    <a:pt x="6" y="228"/>
                    <a:pt x="6" y="228"/>
                    <a:pt x="6" y="228"/>
                  </a:cubicBezTo>
                  <a:cubicBezTo>
                    <a:pt x="3" y="228"/>
                    <a:pt x="0" y="225"/>
                    <a:pt x="0" y="22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7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8" y="2"/>
                    <a:pt x="20" y="0"/>
                    <a:pt x="23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7" y="2"/>
                    <a:pt x="58" y="5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6" y="69"/>
                    <a:pt x="139" y="69"/>
                    <a:pt x="141" y="70"/>
                  </a:cubicBezTo>
                  <a:cubicBezTo>
                    <a:pt x="143" y="71"/>
                    <a:pt x="144" y="73"/>
                    <a:pt x="144" y="76"/>
                  </a:cubicBezTo>
                  <a:cubicBezTo>
                    <a:pt x="144" y="106"/>
                    <a:pt x="144" y="106"/>
                    <a:pt x="144" y="106"/>
                  </a:cubicBezTo>
                  <a:cubicBezTo>
                    <a:pt x="207" y="71"/>
                    <a:pt x="207" y="71"/>
                    <a:pt x="207" y="71"/>
                  </a:cubicBezTo>
                  <a:cubicBezTo>
                    <a:pt x="209" y="70"/>
                    <a:pt x="211" y="70"/>
                    <a:pt x="213" y="71"/>
                  </a:cubicBezTo>
                  <a:cubicBezTo>
                    <a:pt x="215" y="72"/>
                    <a:pt x="216" y="74"/>
                    <a:pt x="216" y="76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79" y="70"/>
                    <a:pt x="279" y="70"/>
                    <a:pt x="279" y="70"/>
                  </a:cubicBezTo>
                  <a:cubicBezTo>
                    <a:pt x="281" y="69"/>
                    <a:pt x="283" y="69"/>
                    <a:pt x="285" y="71"/>
                  </a:cubicBezTo>
                  <a:cubicBezTo>
                    <a:pt x="287" y="72"/>
                    <a:pt x="288" y="74"/>
                    <a:pt x="288" y="76"/>
                  </a:cubicBezTo>
                  <a:cubicBezTo>
                    <a:pt x="288" y="222"/>
                    <a:pt x="288" y="222"/>
                    <a:pt x="288" y="222"/>
                  </a:cubicBezTo>
                  <a:cubicBezTo>
                    <a:pt x="288" y="225"/>
                    <a:pt x="285" y="228"/>
                    <a:pt x="282" y="228"/>
                  </a:cubicBezTo>
                  <a:close/>
                  <a:moveTo>
                    <a:pt x="12" y="216"/>
                  </a:moveTo>
                  <a:cubicBezTo>
                    <a:pt x="276" y="216"/>
                    <a:pt x="276" y="216"/>
                    <a:pt x="276" y="216"/>
                  </a:cubicBezTo>
                  <a:cubicBezTo>
                    <a:pt x="276" y="86"/>
                    <a:pt x="276" y="86"/>
                    <a:pt x="276" y="86"/>
                  </a:cubicBezTo>
                  <a:cubicBezTo>
                    <a:pt x="213" y="122"/>
                    <a:pt x="213" y="122"/>
                    <a:pt x="213" y="122"/>
                  </a:cubicBezTo>
                  <a:cubicBezTo>
                    <a:pt x="211" y="123"/>
                    <a:pt x="209" y="123"/>
                    <a:pt x="207" y="122"/>
                  </a:cubicBezTo>
                  <a:cubicBezTo>
                    <a:pt x="205" y="121"/>
                    <a:pt x="204" y="119"/>
                    <a:pt x="204" y="117"/>
                  </a:cubicBezTo>
                  <a:cubicBezTo>
                    <a:pt x="204" y="86"/>
                    <a:pt x="204" y="86"/>
                    <a:pt x="204" y="86"/>
                  </a:cubicBezTo>
                  <a:cubicBezTo>
                    <a:pt x="141" y="122"/>
                    <a:pt x="141" y="122"/>
                    <a:pt x="141" y="122"/>
                  </a:cubicBezTo>
                  <a:cubicBezTo>
                    <a:pt x="139" y="123"/>
                    <a:pt x="137" y="123"/>
                    <a:pt x="135" y="122"/>
                  </a:cubicBezTo>
                  <a:cubicBezTo>
                    <a:pt x="133" y="121"/>
                    <a:pt x="132" y="119"/>
                    <a:pt x="132" y="117"/>
                  </a:cubicBezTo>
                  <a:cubicBezTo>
                    <a:pt x="132" y="87"/>
                    <a:pt x="132" y="87"/>
                    <a:pt x="132" y="87"/>
                  </a:cubicBezTo>
                  <a:cubicBezTo>
                    <a:pt x="78" y="122"/>
                    <a:pt x="78" y="122"/>
                    <a:pt x="78" y="122"/>
                  </a:cubicBezTo>
                  <a:cubicBezTo>
                    <a:pt x="76" y="123"/>
                    <a:pt x="74" y="123"/>
                    <a:pt x="73" y="122"/>
                  </a:cubicBezTo>
                  <a:cubicBezTo>
                    <a:pt x="71" y="121"/>
                    <a:pt x="69" y="120"/>
                    <a:pt x="69" y="118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12" y="129"/>
                    <a:pt x="12" y="129"/>
                    <a:pt x="12" y="129"/>
                  </a:cubicBezTo>
                  <a:lnTo>
                    <a:pt x="12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" name="Group 154">
            <a:extLst>
              <a:ext uri="{FF2B5EF4-FFF2-40B4-BE49-F238E27FC236}">
                <a16:creationId xmlns:a16="http://schemas.microsoft.com/office/drawing/2014/main" id="{73EDF6EA-8623-429C-8E10-04B3EB6C944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597520" y="3545498"/>
            <a:ext cx="498480" cy="489142"/>
            <a:chOff x="1565" y="3201"/>
            <a:chExt cx="427" cy="419"/>
          </a:xfrm>
          <a:solidFill>
            <a:srgbClr val="2EBEB9"/>
          </a:solidFill>
        </p:grpSpPr>
        <p:sp>
          <p:nvSpPr>
            <p:cNvPr id="36" name="Freeform 155">
              <a:extLst>
                <a:ext uri="{FF2B5EF4-FFF2-40B4-BE49-F238E27FC236}">
                  <a16:creationId xmlns:a16="http://schemas.microsoft.com/office/drawing/2014/main" id="{57DA271C-513F-4A26-9613-2C5FBDA335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03" y="3230"/>
              <a:ext cx="89" cy="160"/>
            </a:xfrm>
            <a:custGeom>
              <a:avLst/>
              <a:gdLst>
                <a:gd name="T0" fmla="*/ 54 w 60"/>
                <a:gd name="T1" fmla="*/ 108 h 108"/>
                <a:gd name="T2" fmla="*/ 6 w 60"/>
                <a:gd name="T3" fmla="*/ 108 h 108"/>
                <a:gd name="T4" fmla="*/ 0 w 60"/>
                <a:gd name="T5" fmla="*/ 102 h 108"/>
                <a:gd name="T6" fmla="*/ 0 w 60"/>
                <a:gd name="T7" fmla="*/ 6 h 108"/>
                <a:gd name="T8" fmla="*/ 6 w 60"/>
                <a:gd name="T9" fmla="*/ 0 h 108"/>
                <a:gd name="T10" fmla="*/ 54 w 60"/>
                <a:gd name="T11" fmla="*/ 0 h 108"/>
                <a:gd name="T12" fmla="*/ 60 w 60"/>
                <a:gd name="T13" fmla="*/ 6 h 108"/>
                <a:gd name="T14" fmla="*/ 60 w 60"/>
                <a:gd name="T15" fmla="*/ 102 h 108"/>
                <a:gd name="T16" fmla="*/ 54 w 60"/>
                <a:gd name="T17" fmla="*/ 108 h 108"/>
                <a:gd name="T18" fmla="*/ 12 w 60"/>
                <a:gd name="T19" fmla="*/ 96 h 108"/>
                <a:gd name="T20" fmla="*/ 48 w 60"/>
                <a:gd name="T21" fmla="*/ 96 h 108"/>
                <a:gd name="T22" fmla="*/ 48 w 60"/>
                <a:gd name="T23" fmla="*/ 12 h 108"/>
                <a:gd name="T24" fmla="*/ 12 w 60"/>
                <a:gd name="T25" fmla="*/ 12 h 108"/>
                <a:gd name="T26" fmla="*/ 12 w 60"/>
                <a:gd name="T27" fmla="*/ 9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8">
                  <a:moveTo>
                    <a:pt x="54" y="108"/>
                  </a:moveTo>
                  <a:cubicBezTo>
                    <a:pt x="6" y="108"/>
                    <a:pt x="6" y="108"/>
                    <a:pt x="6" y="108"/>
                  </a:cubicBezTo>
                  <a:cubicBezTo>
                    <a:pt x="3" y="108"/>
                    <a:pt x="0" y="106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60" y="106"/>
                    <a:pt x="58" y="108"/>
                    <a:pt x="54" y="108"/>
                  </a:cubicBezTo>
                  <a:close/>
                  <a:moveTo>
                    <a:pt x="12" y="96"/>
                  </a:moveTo>
                  <a:cubicBezTo>
                    <a:pt x="48" y="96"/>
                    <a:pt x="48" y="96"/>
                    <a:pt x="48" y="96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56">
              <a:extLst>
                <a:ext uri="{FF2B5EF4-FFF2-40B4-BE49-F238E27FC236}">
                  <a16:creationId xmlns:a16="http://schemas.microsoft.com/office/drawing/2014/main" id="{549FB1B7-C947-48FD-B14E-B6E4A074E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" y="3201"/>
              <a:ext cx="357" cy="193"/>
            </a:xfrm>
            <a:custGeom>
              <a:avLst/>
              <a:gdLst>
                <a:gd name="T0" fmla="*/ 118 w 241"/>
                <a:gd name="T1" fmla="*/ 130 h 130"/>
                <a:gd name="T2" fmla="*/ 106 w 241"/>
                <a:gd name="T3" fmla="*/ 122 h 130"/>
                <a:gd name="T4" fmla="*/ 141 w 241"/>
                <a:gd name="T5" fmla="*/ 77 h 130"/>
                <a:gd name="T6" fmla="*/ 146 w 241"/>
                <a:gd name="T7" fmla="*/ 72 h 130"/>
                <a:gd name="T8" fmla="*/ 115 w 241"/>
                <a:gd name="T9" fmla="*/ 65 h 130"/>
                <a:gd name="T10" fmla="*/ 44 w 241"/>
                <a:gd name="T11" fmla="*/ 90 h 130"/>
                <a:gd name="T12" fmla="*/ 44 w 241"/>
                <a:gd name="T13" fmla="*/ 90 h 130"/>
                <a:gd name="T14" fmla="*/ 2 w 241"/>
                <a:gd name="T15" fmla="*/ 77 h 130"/>
                <a:gd name="T16" fmla="*/ 0 w 241"/>
                <a:gd name="T17" fmla="*/ 72 h 130"/>
                <a:gd name="T18" fmla="*/ 4 w 241"/>
                <a:gd name="T19" fmla="*/ 67 h 130"/>
                <a:gd name="T20" fmla="*/ 67 w 241"/>
                <a:gd name="T21" fmla="*/ 34 h 130"/>
                <a:gd name="T22" fmla="*/ 197 w 241"/>
                <a:gd name="T23" fmla="*/ 23 h 130"/>
                <a:gd name="T24" fmla="*/ 236 w 241"/>
                <a:gd name="T25" fmla="*/ 37 h 130"/>
                <a:gd name="T26" fmla="*/ 240 w 241"/>
                <a:gd name="T27" fmla="*/ 44 h 130"/>
                <a:gd name="T28" fmla="*/ 232 w 241"/>
                <a:gd name="T29" fmla="*/ 48 h 130"/>
                <a:gd name="T30" fmla="*/ 193 w 241"/>
                <a:gd name="T31" fmla="*/ 35 h 130"/>
                <a:gd name="T32" fmla="*/ 72 w 241"/>
                <a:gd name="T33" fmla="*/ 45 h 130"/>
                <a:gd name="T34" fmla="*/ 17 w 241"/>
                <a:gd name="T35" fmla="*/ 74 h 130"/>
                <a:gd name="T36" fmla="*/ 40 w 241"/>
                <a:gd name="T37" fmla="*/ 79 h 130"/>
                <a:gd name="T38" fmla="*/ 112 w 241"/>
                <a:gd name="T39" fmla="*/ 53 h 130"/>
                <a:gd name="T40" fmla="*/ 116 w 241"/>
                <a:gd name="T41" fmla="*/ 53 h 130"/>
                <a:gd name="T42" fmla="*/ 161 w 241"/>
                <a:gd name="T43" fmla="*/ 64 h 130"/>
                <a:gd name="T44" fmla="*/ 166 w 241"/>
                <a:gd name="T45" fmla="*/ 68 h 130"/>
                <a:gd name="T46" fmla="*/ 164 w 241"/>
                <a:gd name="T47" fmla="*/ 74 h 130"/>
                <a:gd name="T48" fmla="*/ 148 w 241"/>
                <a:gd name="T49" fmla="*/ 86 h 130"/>
                <a:gd name="T50" fmla="*/ 117 w 241"/>
                <a:gd name="T51" fmla="*/ 116 h 130"/>
                <a:gd name="T52" fmla="*/ 149 w 241"/>
                <a:gd name="T53" fmla="*/ 107 h 130"/>
                <a:gd name="T54" fmla="*/ 182 w 241"/>
                <a:gd name="T55" fmla="*/ 93 h 130"/>
                <a:gd name="T56" fmla="*/ 186 w 241"/>
                <a:gd name="T57" fmla="*/ 93 h 130"/>
                <a:gd name="T58" fmla="*/ 235 w 241"/>
                <a:gd name="T59" fmla="*/ 110 h 130"/>
                <a:gd name="T60" fmla="*/ 239 w 241"/>
                <a:gd name="T61" fmla="*/ 117 h 130"/>
                <a:gd name="T62" fmla="*/ 232 w 241"/>
                <a:gd name="T63" fmla="*/ 121 h 130"/>
                <a:gd name="T64" fmla="*/ 184 w 241"/>
                <a:gd name="T65" fmla="*/ 105 h 130"/>
                <a:gd name="T66" fmla="*/ 153 w 241"/>
                <a:gd name="T67" fmla="*/ 118 h 130"/>
                <a:gd name="T68" fmla="*/ 118 w 241"/>
                <a:gd name="T69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130">
                  <a:moveTo>
                    <a:pt x="118" y="130"/>
                  </a:moveTo>
                  <a:cubicBezTo>
                    <a:pt x="113" y="130"/>
                    <a:pt x="109" y="128"/>
                    <a:pt x="106" y="122"/>
                  </a:cubicBezTo>
                  <a:cubicBezTo>
                    <a:pt x="98" y="108"/>
                    <a:pt x="120" y="92"/>
                    <a:pt x="141" y="77"/>
                  </a:cubicBezTo>
                  <a:cubicBezTo>
                    <a:pt x="143" y="75"/>
                    <a:pt x="145" y="74"/>
                    <a:pt x="146" y="72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28" y="95"/>
                    <a:pt x="16" y="91"/>
                    <a:pt x="2" y="77"/>
                  </a:cubicBezTo>
                  <a:cubicBezTo>
                    <a:pt x="1" y="75"/>
                    <a:pt x="0" y="73"/>
                    <a:pt x="0" y="72"/>
                  </a:cubicBezTo>
                  <a:cubicBezTo>
                    <a:pt x="1" y="70"/>
                    <a:pt x="2" y="68"/>
                    <a:pt x="4" y="67"/>
                  </a:cubicBezTo>
                  <a:cubicBezTo>
                    <a:pt x="30" y="54"/>
                    <a:pt x="50" y="43"/>
                    <a:pt x="67" y="34"/>
                  </a:cubicBezTo>
                  <a:cubicBezTo>
                    <a:pt x="130" y="0"/>
                    <a:pt x="131" y="0"/>
                    <a:pt x="197" y="23"/>
                  </a:cubicBezTo>
                  <a:cubicBezTo>
                    <a:pt x="208" y="27"/>
                    <a:pt x="221" y="32"/>
                    <a:pt x="236" y="37"/>
                  </a:cubicBezTo>
                  <a:cubicBezTo>
                    <a:pt x="239" y="38"/>
                    <a:pt x="241" y="41"/>
                    <a:pt x="240" y="44"/>
                  </a:cubicBezTo>
                  <a:cubicBezTo>
                    <a:pt x="239" y="48"/>
                    <a:pt x="235" y="49"/>
                    <a:pt x="232" y="48"/>
                  </a:cubicBezTo>
                  <a:cubicBezTo>
                    <a:pt x="217" y="43"/>
                    <a:pt x="204" y="39"/>
                    <a:pt x="193" y="35"/>
                  </a:cubicBezTo>
                  <a:cubicBezTo>
                    <a:pt x="131" y="13"/>
                    <a:pt x="131" y="13"/>
                    <a:pt x="72" y="45"/>
                  </a:cubicBezTo>
                  <a:cubicBezTo>
                    <a:pt x="58" y="53"/>
                    <a:pt x="40" y="62"/>
                    <a:pt x="17" y="74"/>
                  </a:cubicBezTo>
                  <a:cubicBezTo>
                    <a:pt x="26" y="81"/>
                    <a:pt x="33" y="81"/>
                    <a:pt x="40" y="79"/>
                  </a:cubicBezTo>
                  <a:cubicBezTo>
                    <a:pt x="112" y="53"/>
                    <a:pt x="112" y="53"/>
                    <a:pt x="112" y="53"/>
                  </a:cubicBezTo>
                  <a:cubicBezTo>
                    <a:pt x="113" y="52"/>
                    <a:pt x="115" y="52"/>
                    <a:pt x="116" y="53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3" y="64"/>
                    <a:pt x="165" y="66"/>
                    <a:pt x="166" y="68"/>
                  </a:cubicBezTo>
                  <a:cubicBezTo>
                    <a:pt x="166" y="70"/>
                    <a:pt x="165" y="72"/>
                    <a:pt x="164" y="74"/>
                  </a:cubicBezTo>
                  <a:cubicBezTo>
                    <a:pt x="160" y="77"/>
                    <a:pt x="154" y="82"/>
                    <a:pt x="148" y="86"/>
                  </a:cubicBezTo>
                  <a:cubicBezTo>
                    <a:pt x="125" y="103"/>
                    <a:pt x="115" y="113"/>
                    <a:pt x="117" y="116"/>
                  </a:cubicBezTo>
                  <a:cubicBezTo>
                    <a:pt x="119" y="120"/>
                    <a:pt x="119" y="120"/>
                    <a:pt x="149" y="107"/>
                  </a:cubicBezTo>
                  <a:cubicBezTo>
                    <a:pt x="157" y="104"/>
                    <a:pt x="168" y="99"/>
                    <a:pt x="182" y="93"/>
                  </a:cubicBezTo>
                  <a:cubicBezTo>
                    <a:pt x="183" y="93"/>
                    <a:pt x="185" y="93"/>
                    <a:pt x="186" y="93"/>
                  </a:cubicBezTo>
                  <a:cubicBezTo>
                    <a:pt x="235" y="110"/>
                    <a:pt x="235" y="110"/>
                    <a:pt x="235" y="110"/>
                  </a:cubicBezTo>
                  <a:cubicBezTo>
                    <a:pt x="239" y="111"/>
                    <a:pt x="240" y="114"/>
                    <a:pt x="239" y="117"/>
                  </a:cubicBezTo>
                  <a:cubicBezTo>
                    <a:pt x="238" y="120"/>
                    <a:pt x="235" y="122"/>
                    <a:pt x="232" y="121"/>
                  </a:cubicBezTo>
                  <a:cubicBezTo>
                    <a:pt x="184" y="105"/>
                    <a:pt x="184" y="105"/>
                    <a:pt x="184" y="105"/>
                  </a:cubicBezTo>
                  <a:cubicBezTo>
                    <a:pt x="172" y="110"/>
                    <a:pt x="162" y="115"/>
                    <a:pt x="153" y="118"/>
                  </a:cubicBezTo>
                  <a:cubicBezTo>
                    <a:pt x="136" y="126"/>
                    <a:pt x="126" y="130"/>
                    <a:pt x="118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57">
              <a:extLst>
                <a:ext uri="{FF2B5EF4-FFF2-40B4-BE49-F238E27FC236}">
                  <a16:creationId xmlns:a16="http://schemas.microsoft.com/office/drawing/2014/main" id="{82EDE90D-6615-4675-B6D3-950F46896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5" y="3418"/>
              <a:ext cx="54" cy="53"/>
            </a:xfrm>
            <a:custGeom>
              <a:avLst/>
              <a:gdLst>
                <a:gd name="T0" fmla="*/ 6 w 36"/>
                <a:gd name="T1" fmla="*/ 36 h 36"/>
                <a:gd name="T2" fmla="*/ 2 w 36"/>
                <a:gd name="T3" fmla="*/ 34 h 36"/>
                <a:gd name="T4" fmla="*/ 2 w 36"/>
                <a:gd name="T5" fmla="*/ 26 h 36"/>
                <a:gd name="T6" fmla="*/ 25 w 36"/>
                <a:gd name="T7" fmla="*/ 2 h 36"/>
                <a:gd name="T8" fmla="*/ 34 w 36"/>
                <a:gd name="T9" fmla="*/ 2 h 36"/>
                <a:gd name="T10" fmla="*/ 34 w 36"/>
                <a:gd name="T11" fmla="*/ 11 h 36"/>
                <a:gd name="T12" fmla="*/ 10 w 36"/>
                <a:gd name="T13" fmla="*/ 34 h 36"/>
                <a:gd name="T14" fmla="*/ 6 w 36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6">
                  <a:moveTo>
                    <a:pt x="6" y="36"/>
                  </a:moveTo>
                  <a:cubicBezTo>
                    <a:pt x="5" y="36"/>
                    <a:pt x="3" y="35"/>
                    <a:pt x="2" y="34"/>
                  </a:cubicBezTo>
                  <a:cubicBezTo>
                    <a:pt x="0" y="32"/>
                    <a:pt x="0" y="28"/>
                    <a:pt x="2" y="26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8" y="0"/>
                    <a:pt x="32" y="0"/>
                    <a:pt x="34" y="2"/>
                  </a:cubicBezTo>
                  <a:cubicBezTo>
                    <a:pt x="36" y="4"/>
                    <a:pt x="36" y="8"/>
                    <a:pt x="34" y="11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9" y="35"/>
                    <a:pt x="8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58">
              <a:extLst>
                <a:ext uri="{FF2B5EF4-FFF2-40B4-BE49-F238E27FC236}">
                  <a16:creationId xmlns:a16="http://schemas.microsoft.com/office/drawing/2014/main" id="{3E45AA11-2028-495B-AA63-125062A6B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9" y="3400"/>
              <a:ext cx="54" cy="54"/>
            </a:xfrm>
            <a:custGeom>
              <a:avLst/>
              <a:gdLst>
                <a:gd name="T0" fmla="*/ 31 w 37"/>
                <a:gd name="T1" fmla="*/ 36 h 36"/>
                <a:gd name="T2" fmla="*/ 27 w 37"/>
                <a:gd name="T3" fmla="*/ 34 h 36"/>
                <a:gd name="T4" fmla="*/ 3 w 37"/>
                <a:gd name="T5" fmla="*/ 11 h 36"/>
                <a:gd name="T6" fmla="*/ 3 w 37"/>
                <a:gd name="T7" fmla="*/ 2 h 36"/>
                <a:gd name="T8" fmla="*/ 11 w 37"/>
                <a:gd name="T9" fmla="*/ 2 h 36"/>
                <a:gd name="T10" fmla="*/ 35 w 37"/>
                <a:gd name="T11" fmla="*/ 25 h 36"/>
                <a:gd name="T12" fmla="*/ 35 w 37"/>
                <a:gd name="T13" fmla="*/ 34 h 36"/>
                <a:gd name="T14" fmla="*/ 31 w 37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6">
                  <a:moveTo>
                    <a:pt x="31" y="36"/>
                  </a:moveTo>
                  <a:cubicBezTo>
                    <a:pt x="29" y="36"/>
                    <a:pt x="28" y="35"/>
                    <a:pt x="27" y="34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7" y="27"/>
                    <a:pt x="37" y="31"/>
                    <a:pt x="35" y="34"/>
                  </a:cubicBezTo>
                  <a:cubicBezTo>
                    <a:pt x="34" y="35"/>
                    <a:pt x="32" y="36"/>
                    <a:pt x="31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59">
              <a:extLst>
                <a:ext uri="{FF2B5EF4-FFF2-40B4-BE49-F238E27FC236}">
                  <a16:creationId xmlns:a16="http://schemas.microsoft.com/office/drawing/2014/main" id="{1C022153-F7AB-40AF-9F86-5D857FA9EA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5" y="3446"/>
              <a:ext cx="26" cy="67"/>
            </a:xfrm>
            <a:custGeom>
              <a:avLst/>
              <a:gdLst>
                <a:gd name="T0" fmla="*/ 6 w 18"/>
                <a:gd name="T1" fmla="*/ 45 h 45"/>
                <a:gd name="T2" fmla="*/ 5 w 18"/>
                <a:gd name="T3" fmla="*/ 45 h 45"/>
                <a:gd name="T4" fmla="*/ 0 w 18"/>
                <a:gd name="T5" fmla="*/ 38 h 45"/>
                <a:gd name="T6" fmla="*/ 6 w 18"/>
                <a:gd name="T7" fmla="*/ 6 h 45"/>
                <a:gd name="T8" fmla="*/ 13 w 18"/>
                <a:gd name="T9" fmla="*/ 1 h 45"/>
                <a:gd name="T10" fmla="*/ 18 w 18"/>
                <a:gd name="T11" fmla="*/ 8 h 45"/>
                <a:gd name="T12" fmla="*/ 12 w 18"/>
                <a:gd name="T13" fmla="*/ 40 h 45"/>
                <a:gd name="T14" fmla="*/ 6 w 18"/>
                <a:gd name="T1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45">
                  <a:moveTo>
                    <a:pt x="6" y="45"/>
                  </a:moveTo>
                  <a:cubicBezTo>
                    <a:pt x="6" y="45"/>
                    <a:pt x="5" y="45"/>
                    <a:pt x="5" y="45"/>
                  </a:cubicBezTo>
                  <a:cubicBezTo>
                    <a:pt x="2" y="45"/>
                    <a:pt x="0" y="42"/>
                    <a:pt x="0" y="38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2"/>
                    <a:pt x="10" y="0"/>
                    <a:pt x="13" y="1"/>
                  </a:cubicBezTo>
                  <a:cubicBezTo>
                    <a:pt x="16" y="1"/>
                    <a:pt x="18" y="5"/>
                    <a:pt x="18" y="8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1" y="43"/>
                    <a:pt x="9" y="45"/>
                    <a:pt x="6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60">
              <a:extLst>
                <a:ext uri="{FF2B5EF4-FFF2-40B4-BE49-F238E27FC236}">
                  <a16:creationId xmlns:a16="http://schemas.microsoft.com/office/drawing/2014/main" id="{3FB8721A-3E16-472A-8079-6C085AFD4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4" y="3471"/>
              <a:ext cx="54" cy="54"/>
            </a:xfrm>
            <a:custGeom>
              <a:avLst/>
              <a:gdLst>
                <a:gd name="T0" fmla="*/ 29 w 36"/>
                <a:gd name="T1" fmla="*/ 36 h 36"/>
                <a:gd name="T2" fmla="*/ 25 w 36"/>
                <a:gd name="T3" fmla="*/ 34 h 36"/>
                <a:gd name="T4" fmla="*/ 2 w 36"/>
                <a:gd name="T5" fmla="*/ 10 h 36"/>
                <a:gd name="T6" fmla="*/ 2 w 36"/>
                <a:gd name="T7" fmla="*/ 2 h 36"/>
                <a:gd name="T8" fmla="*/ 11 w 36"/>
                <a:gd name="T9" fmla="*/ 2 h 36"/>
                <a:gd name="T10" fmla="*/ 34 w 36"/>
                <a:gd name="T11" fmla="*/ 26 h 36"/>
                <a:gd name="T12" fmla="*/ 34 w 36"/>
                <a:gd name="T13" fmla="*/ 34 h 36"/>
                <a:gd name="T14" fmla="*/ 29 w 36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6">
                  <a:moveTo>
                    <a:pt x="29" y="36"/>
                  </a:moveTo>
                  <a:cubicBezTo>
                    <a:pt x="28" y="36"/>
                    <a:pt x="26" y="35"/>
                    <a:pt x="25" y="34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6" y="28"/>
                    <a:pt x="36" y="32"/>
                    <a:pt x="34" y="34"/>
                  </a:cubicBezTo>
                  <a:cubicBezTo>
                    <a:pt x="32" y="35"/>
                    <a:pt x="31" y="36"/>
                    <a:pt x="29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61">
              <a:extLst>
                <a:ext uri="{FF2B5EF4-FFF2-40B4-BE49-F238E27FC236}">
                  <a16:creationId xmlns:a16="http://schemas.microsoft.com/office/drawing/2014/main" id="{483027C0-5AD7-4540-A80F-81D2DCAD2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0" y="3500"/>
              <a:ext cx="20" cy="68"/>
            </a:xfrm>
            <a:custGeom>
              <a:avLst/>
              <a:gdLst>
                <a:gd name="T0" fmla="*/ 8 w 14"/>
                <a:gd name="T1" fmla="*/ 46 h 46"/>
                <a:gd name="T2" fmla="*/ 2 w 14"/>
                <a:gd name="T3" fmla="*/ 40 h 46"/>
                <a:gd name="T4" fmla="*/ 0 w 14"/>
                <a:gd name="T5" fmla="*/ 7 h 46"/>
                <a:gd name="T6" fmla="*/ 6 w 14"/>
                <a:gd name="T7" fmla="*/ 1 h 46"/>
                <a:gd name="T8" fmla="*/ 12 w 14"/>
                <a:gd name="T9" fmla="*/ 6 h 46"/>
                <a:gd name="T10" fmla="*/ 14 w 14"/>
                <a:gd name="T11" fmla="*/ 39 h 46"/>
                <a:gd name="T12" fmla="*/ 8 w 14"/>
                <a:gd name="T13" fmla="*/ 46 h 46"/>
                <a:gd name="T14" fmla="*/ 8 w 14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46">
                  <a:moveTo>
                    <a:pt x="8" y="46"/>
                  </a:moveTo>
                  <a:cubicBezTo>
                    <a:pt x="5" y="46"/>
                    <a:pt x="2" y="43"/>
                    <a:pt x="2" y="4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4"/>
                    <a:pt x="2" y="1"/>
                    <a:pt x="6" y="1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43"/>
                    <a:pt x="12" y="45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2">
              <a:extLst>
                <a:ext uri="{FF2B5EF4-FFF2-40B4-BE49-F238E27FC236}">
                  <a16:creationId xmlns:a16="http://schemas.microsoft.com/office/drawing/2014/main" id="{944517BC-59A5-45DD-85DE-60E04A7C2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1" y="3563"/>
              <a:ext cx="60" cy="48"/>
            </a:xfrm>
            <a:custGeom>
              <a:avLst/>
              <a:gdLst>
                <a:gd name="T0" fmla="*/ 6 w 40"/>
                <a:gd name="T1" fmla="*/ 32 h 32"/>
                <a:gd name="T2" fmla="*/ 2 w 40"/>
                <a:gd name="T3" fmla="*/ 29 h 32"/>
                <a:gd name="T4" fmla="*/ 3 w 40"/>
                <a:gd name="T5" fmla="*/ 21 h 32"/>
                <a:gd name="T6" fmla="*/ 30 w 40"/>
                <a:gd name="T7" fmla="*/ 1 h 32"/>
                <a:gd name="T8" fmla="*/ 38 w 40"/>
                <a:gd name="T9" fmla="*/ 3 h 32"/>
                <a:gd name="T10" fmla="*/ 37 w 40"/>
                <a:gd name="T11" fmla="*/ 11 h 32"/>
                <a:gd name="T12" fmla="*/ 10 w 40"/>
                <a:gd name="T13" fmla="*/ 31 h 32"/>
                <a:gd name="T14" fmla="*/ 6 w 40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32">
                  <a:moveTo>
                    <a:pt x="6" y="32"/>
                  </a:moveTo>
                  <a:cubicBezTo>
                    <a:pt x="5" y="32"/>
                    <a:pt x="3" y="31"/>
                    <a:pt x="2" y="29"/>
                  </a:cubicBezTo>
                  <a:cubicBezTo>
                    <a:pt x="0" y="27"/>
                    <a:pt x="0" y="23"/>
                    <a:pt x="3" y="2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0"/>
                    <a:pt x="36" y="0"/>
                    <a:pt x="38" y="3"/>
                  </a:cubicBezTo>
                  <a:cubicBezTo>
                    <a:pt x="40" y="6"/>
                    <a:pt x="40" y="9"/>
                    <a:pt x="37" y="1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9" y="31"/>
                    <a:pt x="8" y="32"/>
                    <a:pt x="6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63">
              <a:extLst>
                <a:ext uri="{FF2B5EF4-FFF2-40B4-BE49-F238E27FC236}">
                  <a16:creationId xmlns:a16="http://schemas.microsoft.com/office/drawing/2014/main" id="{658CCC6A-072B-4C53-8568-615F83C5C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8" y="3590"/>
              <a:ext cx="68" cy="30"/>
            </a:xfrm>
            <a:custGeom>
              <a:avLst/>
              <a:gdLst>
                <a:gd name="T0" fmla="*/ 39 w 46"/>
                <a:gd name="T1" fmla="*/ 20 h 20"/>
                <a:gd name="T2" fmla="*/ 38 w 46"/>
                <a:gd name="T3" fmla="*/ 20 h 20"/>
                <a:gd name="T4" fmla="*/ 5 w 46"/>
                <a:gd name="T5" fmla="*/ 12 h 20"/>
                <a:gd name="T6" fmla="*/ 1 w 46"/>
                <a:gd name="T7" fmla="*/ 5 h 20"/>
                <a:gd name="T8" fmla="*/ 8 w 46"/>
                <a:gd name="T9" fmla="*/ 0 h 20"/>
                <a:gd name="T10" fmla="*/ 40 w 46"/>
                <a:gd name="T11" fmla="*/ 8 h 20"/>
                <a:gd name="T12" fmla="*/ 45 w 46"/>
                <a:gd name="T13" fmla="*/ 15 h 20"/>
                <a:gd name="T14" fmla="*/ 39 w 46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20">
                  <a:moveTo>
                    <a:pt x="39" y="20"/>
                  </a:moveTo>
                  <a:cubicBezTo>
                    <a:pt x="39" y="20"/>
                    <a:pt x="38" y="20"/>
                    <a:pt x="38" y="20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2" y="2"/>
                    <a:pt x="5" y="0"/>
                    <a:pt x="8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4" y="9"/>
                    <a:pt x="46" y="12"/>
                    <a:pt x="45" y="15"/>
                  </a:cubicBezTo>
                  <a:cubicBezTo>
                    <a:pt x="44" y="18"/>
                    <a:pt x="42" y="20"/>
                    <a:pt x="39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64">
              <a:extLst>
                <a:ext uri="{FF2B5EF4-FFF2-40B4-BE49-F238E27FC236}">
                  <a16:creationId xmlns:a16="http://schemas.microsoft.com/office/drawing/2014/main" id="{2AB9BAA8-F6C6-49DB-AF66-E1D6C5994E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6" y="3553"/>
              <a:ext cx="33" cy="67"/>
            </a:xfrm>
            <a:custGeom>
              <a:avLst/>
              <a:gdLst>
                <a:gd name="T0" fmla="*/ 15 w 22"/>
                <a:gd name="T1" fmla="*/ 45 h 45"/>
                <a:gd name="T2" fmla="*/ 9 w 22"/>
                <a:gd name="T3" fmla="*/ 41 h 45"/>
                <a:gd name="T4" fmla="*/ 1 w 22"/>
                <a:gd name="T5" fmla="*/ 8 h 45"/>
                <a:gd name="T6" fmla="*/ 5 w 22"/>
                <a:gd name="T7" fmla="*/ 1 h 45"/>
                <a:gd name="T8" fmla="*/ 13 w 22"/>
                <a:gd name="T9" fmla="*/ 6 h 45"/>
                <a:gd name="T10" fmla="*/ 21 w 22"/>
                <a:gd name="T11" fmla="*/ 38 h 45"/>
                <a:gd name="T12" fmla="*/ 16 w 22"/>
                <a:gd name="T13" fmla="*/ 45 h 45"/>
                <a:gd name="T14" fmla="*/ 15 w 22"/>
                <a:gd name="T1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45">
                  <a:moveTo>
                    <a:pt x="15" y="45"/>
                  </a:moveTo>
                  <a:cubicBezTo>
                    <a:pt x="12" y="45"/>
                    <a:pt x="10" y="43"/>
                    <a:pt x="9" y="41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5"/>
                    <a:pt x="2" y="2"/>
                    <a:pt x="5" y="1"/>
                  </a:cubicBezTo>
                  <a:cubicBezTo>
                    <a:pt x="9" y="0"/>
                    <a:pt x="12" y="2"/>
                    <a:pt x="13" y="6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2" y="41"/>
                    <a:pt x="20" y="44"/>
                    <a:pt x="16" y="45"/>
                  </a:cubicBezTo>
                  <a:cubicBezTo>
                    <a:pt x="16" y="45"/>
                    <a:pt x="15" y="45"/>
                    <a:pt x="15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65">
              <a:extLst>
                <a:ext uri="{FF2B5EF4-FFF2-40B4-BE49-F238E27FC236}">
                  <a16:creationId xmlns:a16="http://schemas.microsoft.com/office/drawing/2014/main" id="{84981126-0A32-4ED3-8D52-6DC6BD3932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3522"/>
              <a:ext cx="48" cy="59"/>
            </a:xfrm>
            <a:custGeom>
              <a:avLst/>
              <a:gdLst>
                <a:gd name="T0" fmla="*/ 6 w 32"/>
                <a:gd name="T1" fmla="*/ 40 h 40"/>
                <a:gd name="T2" fmla="*/ 3 w 32"/>
                <a:gd name="T3" fmla="*/ 39 h 40"/>
                <a:gd name="T4" fmla="*/ 1 w 32"/>
                <a:gd name="T5" fmla="*/ 30 h 40"/>
                <a:gd name="T6" fmla="*/ 21 w 32"/>
                <a:gd name="T7" fmla="*/ 3 h 40"/>
                <a:gd name="T8" fmla="*/ 29 w 32"/>
                <a:gd name="T9" fmla="*/ 2 h 40"/>
                <a:gd name="T10" fmla="*/ 30 w 32"/>
                <a:gd name="T11" fmla="*/ 10 h 40"/>
                <a:gd name="T12" fmla="*/ 11 w 32"/>
                <a:gd name="T13" fmla="*/ 37 h 40"/>
                <a:gd name="T14" fmla="*/ 6 w 32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40">
                  <a:moveTo>
                    <a:pt x="6" y="40"/>
                  </a:moveTo>
                  <a:cubicBezTo>
                    <a:pt x="5" y="40"/>
                    <a:pt x="4" y="39"/>
                    <a:pt x="3" y="39"/>
                  </a:cubicBezTo>
                  <a:cubicBezTo>
                    <a:pt x="0" y="37"/>
                    <a:pt x="0" y="33"/>
                    <a:pt x="1" y="30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0"/>
                    <a:pt x="26" y="0"/>
                    <a:pt x="29" y="2"/>
                  </a:cubicBezTo>
                  <a:cubicBezTo>
                    <a:pt x="32" y="4"/>
                    <a:pt x="32" y="7"/>
                    <a:pt x="30" y="10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0" y="39"/>
                    <a:pt x="8" y="40"/>
                    <a:pt x="6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66">
              <a:extLst>
                <a:ext uri="{FF2B5EF4-FFF2-40B4-BE49-F238E27FC236}">
                  <a16:creationId xmlns:a16="http://schemas.microsoft.com/office/drawing/2014/main" id="{F8E66D71-D94C-453C-94BA-5981C25CC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" y="3375"/>
              <a:ext cx="26" cy="67"/>
            </a:xfrm>
            <a:custGeom>
              <a:avLst/>
              <a:gdLst>
                <a:gd name="T0" fmla="*/ 11 w 18"/>
                <a:gd name="T1" fmla="*/ 45 h 45"/>
                <a:gd name="T2" fmla="*/ 5 w 18"/>
                <a:gd name="T3" fmla="*/ 40 h 45"/>
                <a:gd name="T4" fmla="*/ 1 w 18"/>
                <a:gd name="T5" fmla="*/ 8 h 45"/>
                <a:gd name="T6" fmla="*/ 6 w 18"/>
                <a:gd name="T7" fmla="*/ 1 h 45"/>
                <a:gd name="T8" fmla="*/ 12 w 18"/>
                <a:gd name="T9" fmla="*/ 6 h 45"/>
                <a:gd name="T10" fmla="*/ 17 w 18"/>
                <a:gd name="T11" fmla="*/ 39 h 45"/>
                <a:gd name="T12" fmla="*/ 12 w 18"/>
                <a:gd name="T13" fmla="*/ 45 h 45"/>
                <a:gd name="T14" fmla="*/ 11 w 18"/>
                <a:gd name="T1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45">
                  <a:moveTo>
                    <a:pt x="11" y="45"/>
                  </a:moveTo>
                  <a:cubicBezTo>
                    <a:pt x="8" y="45"/>
                    <a:pt x="6" y="43"/>
                    <a:pt x="5" y="40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4"/>
                    <a:pt x="2" y="1"/>
                    <a:pt x="6" y="1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8" y="42"/>
                    <a:pt x="15" y="45"/>
                    <a:pt x="12" y="45"/>
                  </a:cubicBezTo>
                  <a:cubicBezTo>
                    <a:pt x="12" y="45"/>
                    <a:pt x="12" y="45"/>
                    <a:pt x="11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2" name="Right Brace 51">
            <a:extLst>
              <a:ext uri="{FF2B5EF4-FFF2-40B4-BE49-F238E27FC236}">
                <a16:creationId xmlns:a16="http://schemas.microsoft.com/office/drawing/2014/main" id="{E61E35C2-AE5F-4F45-A021-7F227D55FCD1}"/>
              </a:ext>
            </a:extLst>
          </p:cNvPr>
          <p:cNvSpPr/>
          <p:nvPr/>
        </p:nvSpPr>
        <p:spPr>
          <a:xfrm rot="16200000">
            <a:off x="5764456" y="-1631001"/>
            <a:ext cx="455288" cy="9693591"/>
          </a:xfrm>
          <a:prstGeom prst="rightBrace">
            <a:avLst>
              <a:gd name="adj1" fmla="val 158191"/>
              <a:gd name="adj2" fmla="val 49189"/>
            </a:avLst>
          </a:prstGeom>
          <a:ln>
            <a:solidFill>
              <a:srgbClr val="2EBE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C484E6D-0647-49F4-B18E-FE62CF62D286}"/>
              </a:ext>
            </a:extLst>
          </p:cNvPr>
          <p:cNvSpPr txBox="1"/>
          <p:nvPr/>
        </p:nvSpPr>
        <p:spPr>
          <a:xfrm>
            <a:off x="3565375" y="1808488"/>
            <a:ext cx="1840039" cy="969496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just"/>
            <a:r>
              <a:rPr lang="en-GB" sz="2400" b="1">
                <a:solidFill>
                  <a:srgbClr val="2EBEB9"/>
                </a:solidFill>
              </a:rPr>
              <a:t>Eco-score</a:t>
            </a:r>
          </a:p>
          <a:p>
            <a:pPr algn="just"/>
            <a:r>
              <a:rPr lang="en-GB" sz="1200"/>
              <a:t>Is computed as the worst of the three detailed scores.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905BBBD-CAEE-4582-B785-D8D558CC1B3D}"/>
              </a:ext>
            </a:extLst>
          </p:cNvPr>
          <p:cNvSpPr txBox="1"/>
          <p:nvPr/>
        </p:nvSpPr>
        <p:spPr>
          <a:xfrm>
            <a:off x="6582695" y="1808488"/>
            <a:ext cx="3679979" cy="78483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just"/>
            <a:r>
              <a:rPr lang="en-GB" sz="2400" b="1">
                <a:solidFill>
                  <a:srgbClr val="2EBEB9"/>
                </a:solidFill>
              </a:rPr>
              <a:t>Accuracy</a:t>
            </a:r>
          </a:p>
          <a:p>
            <a:pPr algn="just"/>
            <a:r>
              <a:rPr lang="en-GB" sz="1200"/>
              <a:t>A percentage giving the confidence in the reliability of the eco-score given. </a:t>
            </a:r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1115443E-A86D-4270-9FCA-16E38CDBCAF1}"/>
              </a:ext>
            </a:extLst>
          </p:cNvPr>
          <p:cNvSpPr txBox="1">
            <a:spLocks/>
          </p:cNvSpPr>
          <p:nvPr/>
        </p:nvSpPr>
        <p:spPr>
          <a:xfrm>
            <a:off x="8995570" y="4177235"/>
            <a:ext cx="3657600" cy="393700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biodiversit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713BC2D-C443-4636-AE4D-3D104E7CCD8C}"/>
              </a:ext>
            </a:extLst>
          </p:cNvPr>
          <p:cNvSpPr txBox="1"/>
          <p:nvPr/>
        </p:nvSpPr>
        <p:spPr>
          <a:xfrm flipH="1">
            <a:off x="1249712" y="4618395"/>
            <a:ext cx="25793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Data for 7 metal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ncentration %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F2230B5-327F-4A6F-BF91-33985C71F36E}"/>
              </a:ext>
            </a:extLst>
          </p:cNvPr>
          <p:cNvSpPr txBox="1"/>
          <p:nvPr/>
        </p:nvSpPr>
        <p:spPr>
          <a:xfrm flipH="1">
            <a:off x="4850375" y="4618395"/>
            <a:ext cx="30093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ow many pestici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ncentration %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F458C5D-CAB9-4DC8-B653-DCA920123280}"/>
              </a:ext>
            </a:extLst>
          </p:cNvPr>
          <p:cNvSpPr txBox="1"/>
          <p:nvPr/>
        </p:nvSpPr>
        <p:spPr>
          <a:xfrm flipH="1">
            <a:off x="8611145" y="4618395"/>
            <a:ext cx="30093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ow many species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0581222-85E5-45F8-A7E3-34B485EBBBD7}"/>
              </a:ext>
            </a:extLst>
          </p:cNvPr>
          <p:cNvSpPr/>
          <p:nvPr/>
        </p:nvSpPr>
        <p:spPr>
          <a:xfrm>
            <a:off x="939660" y="3344380"/>
            <a:ext cx="7067655" cy="2187084"/>
          </a:xfrm>
          <a:custGeom>
            <a:avLst/>
            <a:gdLst>
              <a:gd name="connsiteX0" fmla="*/ 0 w 7067655"/>
              <a:gd name="connsiteY0" fmla="*/ 0 h 2187084"/>
              <a:gd name="connsiteX1" fmla="*/ 7067655 w 7067655"/>
              <a:gd name="connsiteY1" fmla="*/ 0 h 2187084"/>
              <a:gd name="connsiteX2" fmla="*/ 7067655 w 7067655"/>
              <a:gd name="connsiteY2" fmla="*/ 2187084 h 2187084"/>
              <a:gd name="connsiteX3" fmla="*/ 0 w 7067655"/>
              <a:gd name="connsiteY3" fmla="*/ 2187084 h 2187084"/>
              <a:gd name="connsiteX4" fmla="*/ 0 w 7067655"/>
              <a:gd name="connsiteY4" fmla="*/ 0 h 2187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67655" h="2187084" extrusionOk="0">
                <a:moveTo>
                  <a:pt x="0" y="0"/>
                </a:moveTo>
                <a:cubicBezTo>
                  <a:pt x="2733575" y="-5264"/>
                  <a:pt x="5180970" y="84467"/>
                  <a:pt x="7067655" y="0"/>
                </a:cubicBezTo>
                <a:cubicBezTo>
                  <a:pt x="6939482" y="958411"/>
                  <a:pt x="7196805" y="1887054"/>
                  <a:pt x="7067655" y="2187084"/>
                </a:cubicBezTo>
                <a:cubicBezTo>
                  <a:pt x="5727403" y="2293404"/>
                  <a:pt x="3038861" y="2179435"/>
                  <a:pt x="0" y="2187084"/>
                </a:cubicBezTo>
                <a:cubicBezTo>
                  <a:pt x="160128" y="1559041"/>
                  <a:pt x="25049" y="636009"/>
                  <a:pt x="0" y="0"/>
                </a:cubicBezTo>
                <a:close/>
              </a:path>
            </a:pathLst>
          </a:custGeom>
          <a:noFill/>
          <a:ln w="38100">
            <a:extLst>
              <a:ext uri="{C807C97D-BFC1-408E-A445-0C87EB9F89A2}">
                <ask:lineSketchStyleProps xmlns:ask="http://schemas.microsoft.com/office/drawing/2018/sketchyshapes" sd="265021699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9376D8-37F2-4A5B-84AB-3E11948A2556}"/>
              </a:ext>
            </a:extLst>
          </p:cNvPr>
          <p:cNvSpPr txBox="1"/>
          <p:nvPr/>
        </p:nvSpPr>
        <p:spPr>
          <a:xfrm>
            <a:off x="3366075" y="3458569"/>
            <a:ext cx="18131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>
                <a:highlight>
                  <a:srgbClr val="FFFF00"/>
                </a:highlight>
              </a:rPr>
              <a:t>Your focus of the Hackath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68A1F17-5FD9-43DE-B7BD-7503993BF6B7}"/>
              </a:ext>
            </a:extLst>
          </p:cNvPr>
          <p:cNvSpPr txBox="1"/>
          <p:nvPr/>
        </p:nvSpPr>
        <p:spPr>
          <a:xfrm>
            <a:off x="602169" y="6380076"/>
            <a:ext cx="2944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&amp; BEEODIVERSITY</a:t>
            </a:r>
          </a:p>
        </p:txBody>
      </p:sp>
    </p:spTree>
    <p:extLst>
      <p:ext uri="{BB962C8B-B14F-4D97-AF65-F5344CB8AC3E}">
        <p14:creationId xmlns:p14="http://schemas.microsoft.com/office/powerpoint/2010/main" val="31206144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B4C290F7-F6F6-48DD-8BC2-8BC9189BF55C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6" name="Graphic 4">
            <a:extLst>
              <a:ext uri="{FF2B5EF4-FFF2-40B4-BE49-F238E27FC236}">
                <a16:creationId xmlns:a16="http://schemas.microsoft.com/office/drawing/2014/main" id="{D12ACFF1-EDDC-4770-963D-F678BD4FD5FE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A801D87-091F-414B-9B33-0D96B36AD93A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Copyright © 2021 Accenture.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All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ights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eserved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.</a:t>
            </a:r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0C977D9-FD3B-4329-A701-533FD6A25EE8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nl-BE" sz="800" smtClean="0">
                <a:solidFill>
                  <a:schemeClr val="bg1">
                    <a:alpha val="75000"/>
                  </a:schemeClr>
                </a:solidFill>
              </a:rPr>
              <a:t>8</a:t>
            </a:fld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C9DF6C-78C6-43F0-9B7F-87B36C1B5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76003"/>
            <a:ext cx="11430000" cy="990600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Hackathon Objectives</a:t>
            </a:r>
            <a:br>
              <a:rPr lang="en-US" dirty="0"/>
            </a:br>
            <a:r>
              <a:rPr lang="en-US" dirty="0"/>
              <a:t>Basic Analytics Hypothesis  - example for pesticide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23F441A-328B-466B-81B6-AEFC6080DC11}"/>
              </a:ext>
            </a:extLst>
          </p:cNvPr>
          <p:cNvSpPr txBox="1"/>
          <p:nvPr/>
        </p:nvSpPr>
        <p:spPr>
          <a:xfrm>
            <a:off x="1592074" y="3203439"/>
            <a:ext cx="1925103" cy="2569934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GB" sz="1400" b="1" dirty="0"/>
              <a:t>Historical Data </a:t>
            </a:r>
            <a:r>
              <a:rPr lang="en-GB" sz="1400" dirty="0"/>
              <a:t>on land cover* around beehives, and corresponding concentrations of [Pesticides]</a:t>
            </a:r>
          </a:p>
          <a:p>
            <a:endParaRPr lang="en-GB" sz="1400" dirty="0"/>
          </a:p>
          <a:p>
            <a:r>
              <a:rPr lang="en-GB" sz="1100" dirty="0"/>
              <a:t>*Land covers are aggregated from Level 3 of Corine Land Cover, depending on what types are expected to have an impact on heavy metal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E7E3C76-D25C-4B35-9349-329C059F38A2}"/>
              </a:ext>
            </a:extLst>
          </p:cNvPr>
          <p:cNvSpPr txBox="1"/>
          <p:nvPr/>
        </p:nvSpPr>
        <p:spPr>
          <a:xfrm>
            <a:off x="4393064" y="3159930"/>
            <a:ext cx="2235657" cy="1123384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GB" sz="1400" b="1" dirty="0"/>
              <a:t>Training of an Analytics model</a:t>
            </a:r>
            <a:r>
              <a:rPr lang="en-GB" sz="1400" dirty="0"/>
              <a:t>, estimating concentration of [Pesticides] from land cover detail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0339AC3-7EDC-4BD4-88DC-B3A6FF519A65}"/>
              </a:ext>
            </a:extLst>
          </p:cNvPr>
          <p:cNvSpPr txBox="1"/>
          <p:nvPr/>
        </p:nvSpPr>
        <p:spPr>
          <a:xfrm>
            <a:off x="7682142" y="1502049"/>
            <a:ext cx="2235657" cy="90794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GB" sz="1400" dirty="0"/>
              <a:t>Data on land cover around the </a:t>
            </a:r>
            <a:r>
              <a:rPr lang="en-GB" sz="1400" b="1" dirty="0"/>
              <a:t>new area for which estimates are required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A148C95-431B-41BC-921E-A0086B8163F0}"/>
              </a:ext>
            </a:extLst>
          </p:cNvPr>
          <p:cNvSpPr txBox="1"/>
          <p:nvPr/>
        </p:nvSpPr>
        <p:spPr>
          <a:xfrm>
            <a:off x="7264151" y="3046304"/>
            <a:ext cx="2389905" cy="600164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GB" sz="1200" b="1" dirty="0"/>
              <a:t>Trained model </a:t>
            </a:r>
            <a:r>
              <a:rPr lang="en-GB" sz="1200" dirty="0"/>
              <a:t>estimating the concentration of Pesticides from land cover data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3DE4AFF-3A5E-4C89-BC5D-FF71918526DF}"/>
              </a:ext>
            </a:extLst>
          </p:cNvPr>
          <p:cNvSpPr txBox="1"/>
          <p:nvPr/>
        </p:nvSpPr>
        <p:spPr>
          <a:xfrm>
            <a:off x="7742332" y="4874162"/>
            <a:ext cx="2235657" cy="692497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GB" sz="1400" dirty="0"/>
              <a:t>Estimated concentration for the new area with a lot of pesticides or not.</a:t>
            </a:r>
          </a:p>
        </p:txBody>
      </p:sp>
      <p:grpSp>
        <p:nvGrpSpPr>
          <p:cNvPr id="63" name="Group 169">
            <a:extLst>
              <a:ext uri="{FF2B5EF4-FFF2-40B4-BE49-F238E27FC236}">
                <a16:creationId xmlns:a16="http://schemas.microsoft.com/office/drawing/2014/main" id="{0A9596A0-1101-46E1-890C-E04B38CC39F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371396" y="2280523"/>
            <a:ext cx="334745" cy="345359"/>
            <a:chOff x="2605" y="3204"/>
            <a:chExt cx="410" cy="423"/>
          </a:xfrm>
          <a:solidFill>
            <a:srgbClr val="2EBEB9"/>
          </a:solidFill>
        </p:grpSpPr>
        <p:sp>
          <p:nvSpPr>
            <p:cNvPr id="64" name="Freeform 170">
              <a:extLst>
                <a:ext uri="{FF2B5EF4-FFF2-40B4-BE49-F238E27FC236}">
                  <a16:creationId xmlns:a16="http://schemas.microsoft.com/office/drawing/2014/main" id="{BB04BE68-6610-4C6D-838B-3D33A6131D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" y="3378"/>
              <a:ext cx="214" cy="249"/>
            </a:xfrm>
            <a:custGeom>
              <a:avLst/>
              <a:gdLst>
                <a:gd name="T0" fmla="*/ 66 w 144"/>
                <a:gd name="T1" fmla="*/ 168 h 168"/>
                <a:gd name="T2" fmla="*/ 63 w 144"/>
                <a:gd name="T3" fmla="*/ 167 h 168"/>
                <a:gd name="T4" fmla="*/ 3 w 144"/>
                <a:gd name="T5" fmla="*/ 128 h 168"/>
                <a:gd name="T6" fmla="*/ 0 w 144"/>
                <a:gd name="T7" fmla="*/ 123 h 168"/>
                <a:gd name="T8" fmla="*/ 0 w 144"/>
                <a:gd name="T9" fmla="*/ 45 h 168"/>
                <a:gd name="T10" fmla="*/ 3 w 144"/>
                <a:gd name="T11" fmla="*/ 40 h 168"/>
                <a:gd name="T12" fmla="*/ 63 w 144"/>
                <a:gd name="T13" fmla="*/ 1 h 168"/>
                <a:gd name="T14" fmla="*/ 69 w 144"/>
                <a:gd name="T15" fmla="*/ 1 h 168"/>
                <a:gd name="T16" fmla="*/ 141 w 144"/>
                <a:gd name="T17" fmla="*/ 40 h 168"/>
                <a:gd name="T18" fmla="*/ 144 w 144"/>
                <a:gd name="T19" fmla="*/ 45 h 168"/>
                <a:gd name="T20" fmla="*/ 144 w 144"/>
                <a:gd name="T21" fmla="*/ 123 h 168"/>
                <a:gd name="T22" fmla="*/ 141 w 144"/>
                <a:gd name="T23" fmla="*/ 128 h 168"/>
                <a:gd name="T24" fmla="*/ 69 w 144"/>
                <a:gd name="T25" fmla="*/ 167 h 168"/>
                <a:gd name="T26" fmla="*/ 66 w 144"/>
                <a:gd name="T27" fmla="*/ 168 h 168"/>
                <a:gd name="T28" fmla="*/ 12 w 144"/>
                <a:gd name="T29" fmla="*/ 120 h 168"/>
                <a:gd name="T30" fmla="*/ 67 w 144"/>
                <a:gd name="T31" fmla="*/ 155 h 168"/>
                <a:gd name="T32" fmla="*/ 132 w 144"/>
                <a:gd name="T33" fmla="*/ 120 h 168"/>
                <a:gd name="T34" fmla="*/ 132 w 144"/>
                <a:gd name="T35" fmla="*/ 49 h 168"/>
                <a:gd name="T36" fmla="*/ 67 w 144"/>
                <a:gd name="T37" fmla="*/ 13 h 168"/>
                <a:gd name="T38" fmla="*/ 12 w 144"/>
                <a:gd name="T39" fmla="*/ 48 h 168"/>
                <a:gd name="T40" fmla="*/ 12 w 144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168">
                  <a:moveTo>
                    <a:pt x="66" y="168"/>
                  </a:moveTo>
                  <a:cubicBezTo>
                    <a:pt x="65" y="168"/>
                    <a:pt x="64" y="168"/>
                    <a:pt x="63" y="167"/>
                  </a:cubicBezTo>
                  <a:cubicBezTo>
                    <a:pt x="3" y="128"/>
                    <a:pt x="3" y="128"/>
                    <a:pt x="3" y="128"/>
                  </a:cubicBezTo>
                  <a:cubicBezTo>
                    <a:pt x="1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1" y="41"/>
                    <a:pt x="3" y="40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5" y="0"/>
                    <a:pt x="67" y="0"/>
                    <a:pt x="69" y="1"/>
                  </a:cubicBezTo>
                  <a:cubicBezTo>
                    <a:pt x="141" y="40"/>
                    <a:pt x="141" y="40"/>
                    <a:pt x="141" y="40"/>
                  </a:cubicBezTo>
                  <a:cubicBezTo>
                    <a:pt x="143" y="41"/>
                    <a:pt x="144" y="43"/>
                    <a:pt x="144" y="45"/>
                  </a:cubicBezTo>
                  <a:cubicBezTo>
                    <a:pt x="144" y="123"/>
                    <a:pt x="144" y="123"/>
                    <a:pt x="144" y="123"/>
                  </a:cubicBezTo>
                  <a:cubicBezTo>
                    <a:pt x="144" y="125"/>
                    <a:pt x="143" y="127"/>
                    <a:pt x="141" y="128"/>
                  </a:cubicBezTo>
                  <a:cubicBezTo>
                    <a:pt x="69" y="167"/>
                    <a:pt x="69" y="167"/>
                    <a:pt x="69" y="167"/>
                  </a:cubicBezTo>
                  <a:cubicBezTo>
                    <a:pt x="68" y="168"/>
                    <a:pt x="67" y="168"/>
                    <a:pt x="66" y="168"/>
                  </a:cubicBezTo>
                  <a:close/>
                  <a:moveTo>
                    <a:pt x="12" y="120"/>
                  </a:moveTo>
                  <a:cubicBezTo>
                    <a:pt x="67" y="155"/>
                    <a:pt x="67" y="155"/>
                    <a:pt x="67" y="155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49"/>
                    <a:pt x="132" y="49"/>
                    <a:pt x="132" y="49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12" y="48"/>
                    <a:pt x="12" y="48"/>
                    <a:pt x="12" y="48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71">
              <a:extLst>
                <a:ext uri="{FF2B5EF4-FFF2-40B4-BE49-F238E27FC236}">
                  <a16:creationId xmlns:a16="http://schemas.microsoft.com/office/drawing/2014/main" id="{530B07F3-A8D8-4FDD-BFC9-E5E0F2F62E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1" y="3378"/>
              <a:ext cx="214" cy="249"/>
            </a:xfrm>
            <a:custGeom>
              <a:avLst/>
              <a:gdLst>
                <a:gd name="T0" fmla="*/ 78 w 144"/>
                <a:gd name="T1" fmla="*/ 168 h 168"/>
                <a:gd name="T2" fmla="*/ 76 w 144"/>
                <a:gd name="T3" fmla="*/ 167 h 168"/>
                <a:gd name="T4" fmla="*/ 4 w 144"/>
                <a:gd name="T5" fmla="*/ 128 h 168"/>
                <a:gd name="T6" fmla="*/ 0 w 144"/>
                <a:gd name="T7" fmla="*/ 123 h 168"/>
                <a:gd name="T8" fmla="*/ 0 w 144"/>
                <a:gd name="T9" fmla="*/ 45 h 168"/>
                <a:gd name="T10" fmla="*/ 4 w 144"/>
                <a:gd name="T11" fmla="*/ 40 h 168"/>
                <a:gd name="T12" fmla="*/ 76 w 144"/>
                <a:gd name="T13" fmla="*/ 1 h 168"/>
                <a:gd name="T14" fmla="*/ 82 w 144"/>
                <a:gd name="T15" fmla="*/ 1 h 168"/>
                <a:gd name="T16" fmla="*/ 142 w 144"/>
                <a:gd name="T17" fmla="*/ 40 h 168"/>
                <a:gd name="T18" fmla="*/ 144 w 144"/>
                <a:gd name="T19" fmla="*/ 45 h 168"/>
                <a:gd name="T20" fmla="*/ 144 w 144"/>
                <a:gd name="T21" fmla="*/ 123 h 168"/>
                <a:gd name="T22" fmla="*/ 142 w 144"/>
                <a:gd name="T23" fmla="*/ 128 h 168"/>
                <a:gd name="T24" fmla="*/ 82 w 144"/>
                <a:gd name="T25" fmla="*/ 167 h 168"/>
                <a:gd name="T26" fmla="*/ 78 w 144"/>
                <a:gd name="T27" fmla="*/ 168 h 168"/>
                <a:gd name="T28" fmla="*/ 12 w 144"/>
                <a:gd name="T29" fmla="*/ 120 h 168"/>
                <a:gd name="T30" fmla="*/ 78 w 144"/>
                <a:gd name="T31" fmla="*/ 155 h 168"/>
                <a:gd name="T32" fmla="*/ 132 w 144"/>
                <a:gd name="T33" fmla="*/ 120 h 168"/>
                <a:gd name="T34" fmla="*/ 132 w 144"/>
                <a:gd name="T35" fmla="*/ 48 h 168"/>
                <a:gd name="T36" fmla="*/ 78 w 144"/>
                <a:gd name="T37" fmla="*/ 13 h 168"/>
                <a:gd name="T38" fmla="*/ 12 w 144"/>
                <a:gd name="T39" fmla="*/ 49 h 168"/>
                <a:gd name="T40" fmla="*/ 12 w 144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168">
                  <a:moveTo>
                    <a:pt x="78" y="168"/>
                  </a:moveTo>
                  <a:cubicBezTo>
                    <a:pt x="77" y="168"/>
                    <a:pt x="76" y="168"/>
                    <a:pt x="76" y="167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2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2" y="41"/>
                    <a:pt x="4" y="40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8" y="0"/>
                    <a:pt x="80" y="0"/>
                    <a:pt x="82" y="1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3" y="41"/>
                    <a:pt x="144" y="43"/>
                    <a:pt x="144" y="45"/>
                  </a:cubicBezTo>
                  <a:cubicBezTo>
                    <a:pt x="144" y="123"/>
                    <a:pt x="144" y="123"/>
                    <a:pt x="144" y="123"/>
                  </a:cubicBezTo>
                  <a:cubicBezTo>
                    <a:pt x="144" y="125"/>
                    <a:pt x="143" y="127"/>
                    <a:pt x="142" y="128"/>
                  </a:cubicBezTo>
                  <a:cubicBezTo>
                    <a:pt x="82" y="167"/>
                    <a:pt x="82" y="167"/>
                    <a:pt x="82" y="167"/>
                  </a:cubicBezTo>
                  <a:cubicBezTo>
                    <a:pt x="81" y="168"/>
                    <a:pt x="80" y="168"/>
                    <a:pt x="78" y="168"/>
                  </a:cubicBezTo>
                  <a:close/>
                  <a:moveTo>
                    <a:pt x="12" y="120"/>
                  </a:moveTo>
                  <a:cubicBezTo>
                    <a:pt x="78" y="155"/>
                    <a:pt x="78" y="155"/>
                    <a:pt x="78" y="155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12" y="49"/>
                    <a:pt x="12" y="49"/>
                    <a:pt x="12" y="49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72">
              <a:extLst>
                <a:ext uri="{FF2B5EF4-FFF2-40B4-BE49-F238E27FC236}">
                  <a16:creationId xmlns:a16="http://schemas.microsoft.com/office/drawing/2014/main" id="{64ECA550-0837-4384-8EB1-11E888BB75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4" y="3204"/>
              <a:ext cx="232" cy="250"/>
            </a:xfrm>
            <a:custGeom>
              <a:avLst/>
              <a:gdLst>
                <a:gd name="T0" fmla="*/ 78 w 156"/>
                <a:gd name="T1" fmla="*/ 168 h 168"/>
                <a:gd name="T2" fmla="*/ 76 w 156"/>
                <a:gd name="T3" fmla="*/ 167 h 168"/>
                <a:gd name="T4" fmla="*/ 4 w 156"/>
                <a:gd name="T5" fmla="*/ 128 h 168"/>
                <a:gd name="T6" fmla="*/ 0 w 156"/>
                <a:gd name="T7" fmla="*/ 123 h 168"/>
                <a:gd name="T8" fmla="*/ 0 w 156"/>
                <a:gd name="T9" fmla="*/ 45 h 168"/>
                <a:gd name="T10" fmla="*/ 4 w 156"/>
                <a:gd name="T11" fmla="*/ 40 h 168"/>
                <a:gd name="T12" fmla="*/ 76 w 156"/>
                <a:gd name="T13" fmla="*/ 1 h 168"/>
                <a:gd name="T14" fmla="*/ 81 w 156"/>
                <a:gd name="T15" fmla="*/ 1 h 168"/>
                <a:gd name="T16" fmla="*/ 153 w 156"/>
                <a:gd name="T17" fmla="*/ 40 h 168"/>
                <a:gd name="T18" fmla="*/ 156 w 156"/>
                <a:gd name="T19" fmla="*/ 45 h 168"/>
                <a:gd name="T20" fmla="*/ 156 w 156"/>
                <a:gd name="T21" fmla="*/ 123 h 168"/>
                <a:gd name="T22" fmla="*/ 153 w 156"/>
                <a:gd name="T23" fmla="*/ 128 h 168"/>
                <a:gd name="T24" fmla="*/ 81 w 156"/>
                <a:gd name="T25" fmla="*/ 167 h 168"/>
                <a:gd name="T26" fmla="*/ 78 w 156"/>
                <a:gd name="T27" fmla="*/ 168 h 168"/>
                <a:gd name="T28" fmla="*/ 12 w 156"/>
                <a:gd name="T29" fmla="*/ 120 h 168"/>
                <a:gd name="T30" fmla="*/ 78 w 156"/>
                <a:gd name="T31" fmla="*/ 155 h 168"/>
                <a:gd name="T32" fmla="*/ 144 w 156"/>
                <a:gd name="T33" fmla="*/ 120 h 168"/>
                <a:gd name="T34" fmla="*/ 144 w 156"/>
                <a:gd name="T35" fmla="*/ 49 h 168"/>
                <a:gd name="T36" fmla="*/ 78 w 156"/>
                <a:gd name="T37" fmla="*/ 13 h 168"/>
                <a:gd name="T38" fmla="*/ 12 w 156"/>
                <a:gd name="T39" fmla="*/ 49 h 168"/>
                <a:gd name="T40" fmla="*/ 12 w 156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6" h="168">
                  <a:moveTo>
                    <a:pt x="78" y="168"/>
                  </a:moveTo>
                  <a:cubicBezTo>
                    <a:pt x="77" y="168"/>
                    <a:pt x="76" y="168"/>
                    <a:pt x="76" y="167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2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2" y="41"/>
                    <a:pt x="4" y="40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7" y="0"/>
                    <a:pt x="80" y="0"/>
                    <a:pt x="81" y="1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5" y="41"/>
                    <a:pt x="156" y="43"/>
                    <a:pt x="156" y="45"/>
                  </a:cubicBezTo>
                  <a:cubicBezTo>
                    <a:pt x="156" y="123"/>
                    <a:pt x="156" y="123"/>
                    <a:pt x="156" y="123"/>
                  </a:cubicBezTo>
                  <a:cubicBezTo>
                    <a:pt x="156" y="125"/>
                    <a:pt x="155" y="127"/>
                    <a:pt x="153" y="128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80" y="168"/>
                    <a:pt x="79" y="168"/>
                    <a:pt x="78" y="168"/>
                  </a:cubicBezTo>
                  <a:close/>
                  <a:moveTo>
                    <a:pt x="12" y="120"/>
                  </a:moveTo>
                  <a:cubicBezTo>
                    <a:pt x="78" y="155"/>
                    <a:pt x="78" y="155"/>
                    <a:pt x="78" y="155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49"/>
                    <a:pt x="144" y="49"/>
                    <a:pt x="144" y="49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12" y="49"/>
                    <a:pt x="12" y="49"/>
                    <a:pt x="12" y="49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7" name="Group 83">
            <a:extLst>
              <a:ext uri="{FF2B5EF4-FFF2-40B4-BE49-F238E27FC236}">
                <a16:creationId xmlns:a16="http://schemas.microsoft.com/office/drawing/2014/main" id="{CF5AB62B-4A27-410D-9348-9B7D745B4E7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85302" y="1657548"/>
            <a:ext cx="410606" cy="408685"/>
            <a:chOff x="2592" y="1887"/>
            <a:chExt cx="428" cy="426"/>
          </a:xfrm>
          <a:solidFill>
            <a:srgbClr val="2EBEB9"/>
          </a:solidFill>
        </p:grpSpPr>
        <p:sp>
          <p:nvSpPr>
            <p:cNvPr id="68" name="Freeform 84">
              <a:extLst>
                <a:ext uri="{FF2B5EF4-FFF2-40B4-BE49-F238E27FC236}">
                  <a16:creationId xmlns:a16="http://schemas.microsoft.com/office/drawing/2014/main" id="{BFC3E026-6C0E-4B66-82A8-E637A5198D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2" y="1887"/>
              <a:ext cx="427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282 w 288"/>
                <a:gd name="T9" fmla="*/ 150 h 288"/>
                <a:gd name="T10" fmla="*/ 276 w 288"/>
                <a:gd name="T11" fmla="*/ 144 h 288"/>
                <a:gd name="T12" fmla="*/ 144 w 288"/>
                <a:gd name="T13" fmla="*/ 12 h 288"/>
                <a:gd name="T14" fmla="*/ 12 w 288"/>
                <a:gd name="T15" fmla="*/ 144 h 288"/>
                <a:gd name="T16" fmla="*/ 144 w 288"/>
                <a:gd name="T17" fmla="*/ 276 h 288"/>
                <a:gd name="T18" fmla="*/ 150 w 288"/>
                <a:gd name="T19" fmla="*/ 282 h 288"/>
                <a:gd name="T20" fmla="*/ 144 w 288"/>
                <a:gd name="T21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4"/>
                    <a:pt x="0" y="144"/>
                  </a:cubicBezTo>
                  <a:cubicBezTo>
                    <a:pt x="0" y="65"/>
                    <a:pt x="65" y="0"/>
                    <a:pt x="144" y="0"/>
                  </a:cubicBezTo>
                  <a:cubicBezTo>
                    <a:pt x="223" y="0"/>
                    <a:pt x="288" y="65"/>
                    <a:pt x="288" y="144"/>
                  </a:cubicBezTo>
                  <a:cubicBezTo>
                    <a:pt x="288" y="148"/>
                    <a:pt x="285" y="150"/>
                    <a:pt x="282" y="150"/>
                  </a:cubicBezTo>
                  <a:cubicBezTo>
                    <a:pt x="279" y="150"/>
                    <a:pt x="276" y="148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ubicBezTo>
                    <a:pt x="71" y="12"/>
                    <a:pt x="12" y="71"/>
                    <a:pt x="12" y="144"/>
                  </a:cubicBezTo>
                  <a:cubicBezTo>
                    <a:pt x="12" y="217"/>
                    <a:pt x="71" y="276"/>
                    <a:pt x="144" y="276"/>
                  </a:cubicBezTo>
                  <a:cubicBezTo>
                    <a:pt x="147" y="276"/>
                    <a:pt x="150" y="279"/>
                    <a:pt x="150" y="282"/>
                  </a:cubicBezTo>
                  <a:cubicBezTo>
                    <a:pt x="150" y="286"/>
                    <a:pt x="147" y="288"/>
                    <a:pt x="144" y="2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9" name="Freeform 85">
              <a:extLst>
                <a:ext uri="{FF2B5EF4-FFF2-40B4-BE49-F238E27FC236}">
                  <a16:creationId xmlns:a16="http://schemas.microsoft.com/office/drawing/2014/main" id="{99033911-05DD-4997-B6F6-EC80124289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23" y="2118"/>
              <a:ext cx="153" cy="154"/>
            </a:xfrm>
            <a:custGeom>
              <a:avLst/>
              <a:gdLst>
                <a:gd name="T0" fmla="*/ 52 w 103"/>
                <a:gd name="T1" fmla="*/ 104 h 104"/>
                <a:gd name="T2" fmla="*/ 0 w 103"/>
                <a:gd name="T3" fmla="*/ 52 h 104"/>
                <a:gd name="T4" fmla="*/ 52 w 103"/>
                <a:gd name="T5" fmla="*/ 0 h 104"/>
                <a:gd name="T6" fmla="*/ 103 w 103"/>
                <a:gd name="T7" fmla="*/ 52 h 104"/>
                <a:gd name="T8" fmla="*/ 52 w 103"/>
                <a:gd name="T9" fmla="*/ 104 h 104"/>
                <a:gd name="T10" fmla="*/ 52 w 103"/>
                <a:gd name="T11" fmla="*/ 12 h 104"/>
                <a:gd name="T12" fmla="*/ 12 w 103"/>
                <a:gd name="T13" fmla="*/ 52 h 104"/>
                <a:gd name="T14" fmla="*/ 52 w 103"/>
                <a:gd name="T15" fmla="*/ 92 h 104"/>
                <a:gd name="T16" fmla="*/ 91 w 103"/>
                <a:gd name="T17" fmla="*/ 52 h 104"/>
                <a:gd name="T18" fmla="*/ 52 w 103"/>
                <a:gd name="T19" fmla="*/ 1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4">
                  <a:moveTo>
                    <a:pt x="52" y="104"/>
                  </a:moveTo>
                  <a:cubicBezTo>
                    <a:pt x="23" y="104"/>
                    <a:pt x="0" y="80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80" y="0"/>
                    <a:pt x="103" y="23"/>
                    <a:pt x="103" y="52"/>
                  </a:cubicBezTo>
                  <a:cubicBezTo>
                    <a:pt x="103" y="80"/>
                    <a:pt x="80" y="104"/>
                    <a:pt x="52" y="104"/>
                  </a:cubicBezTo>
                  <a:close/>
                  <a:moveTo>
                    <a:pt x="52" y="12"/>
                  </a:moveTo>
                  <a:cubicBezTo>
                    <a:pt x="30" y="12"/>
                    <a:pt x="12" y="30"/>
                    <a:pt x="12" y="52"/>
                  </a:cubicBezTo>
                  <a:cubicBezTo>
                    <a:pt x="12" y="74"/>
                    <a:pt x="30" y="92"/>
                    <a:pt x="52" y="92"/>
                  </a:cubicBezTo>
                  <a:cubicBezTo>
                    <a:pt x="74" y="92"/>
                    <a:pt x="91" y="74"/>
                    <a:pt x="91" y="52"/>
                  </a:cubicBezTo>
                  <a:cubicBezTo>
                    <a:pt x="91" y="30"/>
                    <a:pt x="74" y="12"/>
                    <a:pt x="5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0" name="Freeform 86">
              <a:extLst>
                <a:ext uri="{FF2B5EF4-FFF2-40B4-BE49-F238E27FC236}">
                  <a16:creationId xmlns:a16="http://schemas.microsoft.com/office/drawing/2014/main" id="{38887E3C-70C2-485D-B26C-B2E7658D1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7" y="2233"/>
              <a:ext cx="83" cy="80"/>
            </a:xfrm>
            <a:custGeom>
              <a:avLst/>
              <a:gdLst>
                <a:gd name="T0" fmla="*/ 49 w 56"/>
                <a:gd name="T1" fmla="*/ 54 h 54"/>
                <a:gd name="T2" fmla="*/ 45 w 56"/>
                <a:gd name="T3" fmla="*/ 52 h 54"/>
                <a:gd name="T4" fmla="*/ 3 w 56"/>
                <a:gd name="T5" fmla="*/ 10 h 54"/>
                <a:gd name="T6" fmla="*/ 3 w 56"/>
                <a:gd name="T7" fmla="*/ 2 h 54"/>
                <a:gd name="T8" fmla="*/ 11 w 56"/>
                <a:gd name="T9" fmla="*/ 2 h 54"/>
                <a:gd name="T10" fmla="*/ 53 w 56"/>
                <a:gd name="T11" fmla="*/ 44 h 54"/>
                <a:gd name="T12" fmla="*/ 53 w 56"/>
                <a:gd name="T13" fmla="*/ 52 h 54"/>
                <a:gd name="T14" fmla="*/ 49 w 56"/>
                <a:gd name="T1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4">
                  <a:moveTo>
                    <a:pt x="49" y="54"/>
                  </a:moveTo>
                  <a:cubicBezTo>
                    <a:pt x="48" y="54"/>
                    <a:pt x="46" y="54"/>
                    <a:pt x="45" y="52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6" y="46"/>
                    <a:pt x="56" y="50"/>
                    <a:pt x="53" y="52"/>
                  </a:cubicBezTo>
                  <a:cubicBezTo>
                    <a:pt x="52" y="54"/>
                    <a:pt x="51" y="54"/>
                    <a:pt x="49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1" name="Freeform 87">
              <a:extLst>
                <a:ext uri="{FF2B5EF4-FFF2-40B4-BE49-F238E27FC236}">
                  <a16:creationId xmlns:a16="http://schemas.microsoft.com/office/drawing/2014/main" id="{64EADD73-9F11-4C55-B5F3-ACB158DD6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2" y="1894"/>
              <a:ext cx="213" cy="313"/>
            </a:xfrm>
            <a:custGeom>
              <a:avLst/>
              <a:gdLst>
                <a:gd name="T0" fmla="*/ 67 w 144"/>
                <a:gd name="T1" fmla="*/ 211 h 211"/>
                <a:gd name="T2" fmla="*/ 61 w 144"/>
                <a:gd name="T3" fmla="*/ 205 h 211"/>
                <a:gd name="T4" fmla="*/ 61 w 144"/>
                <a:gd name="T5" fmla="*/ 178 h 211"/>
                <a:gd name="T6" fmla="*/ 3 w 144"/>
                <a:gd name="T7" fmla="*/ 132 h 211"/>
                <a:gd name="T8" fmla="*/ 2 w 144"/>
                <a:gd name="T9" fmla="*/ 124 h 211"/>
                <a:gd name="T10" fmla="*/ 29 w 144"/>
                <a:gd name="T11" fmla="*/ 82 h 211"/>
                <a:gd name="T12" fmla="*/ 34 w 144"/>
                <a:gd name="T13" fmla="*/ 79 h 211"/>
                <a:gd name="T14" fmla="*/ 97 w 144"/>
                <a:gd name="T15" fmla="*/ 79 h 211"/>
                <a:gd name="T16" fmla="*/ 97 w 144"/>
                <a:gd name="T17" fmla="*/ 52 h 211"/>
                <a:gd name="T18" fmla="*/ 82 w 144"/>
                <a:gd name="T19" fmla="*/ 42 h 211"/>
                <a:gd name="T20" fmla="*/ 79 w 144"/>
                <a:gd name="T21" fmla="*/ 37 h 211"/>
                <a:gd name="T22" fmla="*/ 82 w 144"/>
                <a:gd name="T23" fmla="*/ 32 h 211"/>
                <a:gd name="T24" fmla="*/ 134 w 144"/>
                <a:gd name="T25" fmla="*/ 2 h 211"/>
                <a:gd name="T26" fmla="*/ 143 w 144"/>
                <a:gd name="T27" fmla="*/ 4 h 211"/>
                <a:gd name="T28" fmla="*/ 140 w 144"/>
                <a:gd name="T29" fmla="*/ 12 h 211"/>
                <a:gd name="T30" fmla="*/ 96 w 144"/>
                <a:gd name="T31" fmla="*/ 38 h 211"/>
                <a:gd name="T32" fmla="*/ 106 w 144"/>
                <a:gd name="T33" fmla="*/ 44 h 211"/>
                <a:gd name="T34" fmla="*/ 109 w 144"/>
                <a:gd name="T35" fmla="*/ 49 h 211"/>
                <a:gd name="T36" fmla="*/ 109 w 144"/>
                <a:gd name="T37" fmla="*/ 85 h 211"/>
                <a:gd name="T38" fmla="*/ 103 w 144"/>
                <a:gd name="T39" fmla="*/ 91 h 211"/>
                <a:gd name="T40" fmla="*/ 37 w 144"/>
                <a:gd name="T41" fmla="*/ 91 h 211"/>
                <a:gd name="T42" fmla="*/ 15 w 144"/>
                <a:gd name="T43" fmla="*/ 126 h 211"/>
                <a:gd name="T44" fmla="*/ 71 w 144"/>
                <a:gd name="T45" fmla="*/ 171 h 211"/>
                <a:gd name="T46" fmla="*/ 73 w 144"/>
                <a:gd name="T47" fmla="*/ 175 h 211"/>
                <a:gd name="T48" fmla="*/ 73 w 144"/>
                <a:gd name="T49" fmla="*/ 205 h 211"/>
                <a:gd name="T50" fmla="*/ 67 w 144"/>
                <a:gd name="T5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" h="211">
                  <a:moveTo>
                    <a:pt x="67" y="211"/>
                  </a:moveTo>
                  <a:cubicBezTo>
                    <a:pt x="64" y="211"/>
                    <a:pt x="61" y="209"/>
                    <a:pt x="61" y="205"/>
                  </a:cubicBezTo>
                  <a:cubicBezTo>
                    <a:pt x="61" y="178"/>
                    <a:pt x="61" y="178"/>
                    <a:pt x="61" y="178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30"/>
                    <a:pt x="0" y="127"/>
                    <a:pt x="2" y="124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30" y="80"/>
                    <a:pt x="32" y="79"/>
                    <a:pt x="34" y="79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0" y="41"/>
                    <a:pt x="79" y="39"/>
                    <a:pt x="79" y="37"/>
                  </a:cubicBezTo>
                  <a:cubicBezTo>
                    <a:pt x="79" y="35"/>
                    <a:pt x="80" y="33"/>
                    <a:pt x="82" y="32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1" y="1"/>
                    <a:pt x="143" y="4"/>
                  </a:cubicBezTo>
                  <a:cubicBezTo>
                    <a:pt x="144" y="7"/>
                    <a:pt x="143" y="11"/>
                    <a:pt x="140" y="12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106" y="44"/>
                    <a:pt x="106" y="44"/>
                    <a:pt x="106" y="44"/>
                  </a:cubicBezTo>
                  <a:cubicBezTo>
                    <a:pt x="108" y="45"/>
                    <a:pt x="109" y="47"/>
                    <a:pt x="109" y="49"/>
                  </a:cubicBezTo>
                  <a:cubicBezTo>
                    <a:pt x="109" y="85"/>
                    <a:pt x="109" y="85"/>
                    <a:pt x="109" y="85"/>
                  </a:cubicBezTo>
                  <a:cubicBezTo>
                    <a:pt x="109" y="89"/>
                    <a:pt x="106" y="91"/>
                    <a:pt x="103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71" y="171"/>
                    <a:pt x="71" y="171"/>
                    <a:pt x="71" y="171"/>
                  </a:cubicBezTo>
                  <a:cubicBezTo>
                    <a:pt x="72" y="172"/>
                    <a:pt x="73" y="173"/>
                    <a:pt x="73" y="175"/>
                  </a:cubicBezTo>
                  <a:cubicBezTo>
                    <a:pt x="73" y="205"/>
                    <a:pt x="73" y="205"/>
                    <a:pt x="73" y="205"/>
                  </a:cubicBezTo>
                  <a:cubicBezTo>
                    <a:pt x="73" y="209"/>
                    <a:pt x="70" y="211"/>
                    <a:pt x="67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2" name="Freeform 88">
              <a:extLst>
                <a:ext uri="{FF2B5EF4-FFF2-40B4-BE49-F238E27FC236}">
                  <a16:creationId xmlns:a16="http://schemas.microsoft.com/office/drawing/2014/main" id="{B628F2C1-66A2-4A6A-AA08-C500D9667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3" y="1952"/>
              <a:ext cx="114" cy="108"/>
            </a:xfrm>
            <a:custGeom>
              <a:avLst/>
              <a:gdLst>
                <a:gd name="T0" fmla="*/ 7 w 77"/>
                <a:gd name="T1" fmla="*/ 73 h 73"/>
                <a:gd name="T2" fmla="*/ 3 w 77"/>
                <a:gd name="T3" fmla="*/ 71 h 73"/>
                <a:gd name="T4" fmla="*/ 3 w 77"/>
                <a:gd name="T5" fmla="*/ 63 h 73"/>
                <a:gd name="T6" fmla="*/ 24 w 77"/>
                <a:gd name="T7" fmla="*/ 42 h 73"/>
                <a:gd name="T8" fmla="*/ 28 w 77"/>
                <a:gd name="T9" fmla="*/ 40 h 73"/>
                <a:gd name="T10" fmla="*/ 45 w 77"/>
                <a:gd name="T11" fmla="*/ 40 h 73"/>
                <a:gd name="T12" fmla="*/ 65 w 77"/>
                <a:gd name="T13" fmla="*/ 4 h 73"/>
                <a:gd name="T14" fmla="*/ 73 w 77"/>
                <a:gd name="T15" fmla="*/ 2 h 73"/>
                <a:gd name="T16" fmla="*/ 75 w 77"/>
                <a:gd name="T17" fmla="*/ 10 h 73"/>
                <a:gd name="T18" fmla="*/ 54 w 77"/>
                <a:gd name="T19" fmla="*/ 49 h 73"/>
                <a:gd name="T20" fmla="*/ 49 w 77"/>
                <a:gd name="T21" fmla="*/ 52 h 73"/>
                <a:gd name="T22" fmla="*/ 31 w 77"/>
                <a:gd name="T23" fmla="*/ 52 h 73"/>
                <a:gd name="T24" fmla="*/ 11 w 77"/>
                <a:gd name="T25" fmla="*/ 71 h 73"/>
                <a:gd name="T26" fmla="*/ 7 w 77"/>
                <a:gd name="T2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7" h="73">
                  <a:moveTo>
                    <a:pt x="7" y="73"/>
                  </a:moveTo>
                  <a:cubicBezTo>
                    <a:pt x="6" y="73"/>
                    <a:pt x="4" y="73"/>
                    <a:pt x="3" y="71"/>
                  </a:cubicBezTo>
                  <a:cubicBezTo>
                    <a:pt x="0" y="69"/>
                    <a:pt x="0" y="65"/>
                    <a:pt x="3" y="63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5" y="41"/>
                    <a:pt x="26" y="40"/>
                    <a:pt x="28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6" y="2"/>
                    <a:pt x="70" y="0"/>
                    <a:pt x="73" y="2"/>
                  </a:cubicBezTo>
                  <a:cubicBezTo>
                    <a:pt x="76" y="4"/>
                    <a:pt x="77" y="7"/>
                    <a:pt x="75" y="10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3" y="51"/>
                    <a:pt x="51" y="52"/>
                    <a:pt x="4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0" y="73"/>
                    <a:pt x="9" y="73"/>
                    <a:pt x="7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73" name="Group 83">
            <a:extLst>
              <a:ext uri="{FF2B5EF4-FFF2-40B4-BE49-F238E27FC236}">
                <a16:creationId xmlns:a16="http://schemas.microsoft.com/office/drawing/2014/main" id="{27F7E7D6-1124-4A5F-8A69-B757C0438C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359071" y="2754552"/>
            <a:ext cx="344697" cy="343085"/>
            <a:chOff x="2592" y="1887"/>
            <a:chExt cx="428" cy="426"/>
          </a:xfrm>
          <a:solidFill>
            <a:srgbClr val="2EBEB9"/>
          </a:solidFill>
        </p:grpSpPr>
        <p:sp>
          <p:nvSpPr>
            <p:cNvPr id="74" name="Freeform 84">
              <a:extLst>
                <a:ext uri="{FF2B5EF4-FFF2-40B4-BE49-F238E27FC236}">
                  <a16:creationId xmlns:a16="http://schemas.microsoft.com/office/drawing/2014/main" id="{36D9CA5F-09A5-4539-82B0-CB363B9C18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2" y="1887"/>
              <a:ext cx="427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282 w 288"/>
                <a:gd name="T9" fmla="*/ 150 h 288"/>
                <a:gd name="T10" fmla="*/ 276 w 288"/>
                <a:gd name="T11" fmla="*/ 144 h 288"/>
                <a:gd name="T12" fmla="*/ 144 w 288"/>
                <a:gd name="T13" fmla="*/ 12 h 288"/>
                <a:gd name="T14" fmla="*/ 12 w 288"/>
                <a:gd name="T15" fmla="*/ 144 h 288"/>
                <a:gd name="T16" fmla="*/ 144 w 288"/>
                <a:gd name="T17" fmla="*/ 276 h 288"/>
                <a:gd name="T18" fmla="*/ 150 w 288"/>
                <a:gd name="T19" fmla="*/ 282 h 288"/>
                <a:gd name="T20" fmla="*/ 144 w 288"/>
                <a:gd name="T21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4"/>
                    <a:pt x="0" y="144"/>
                  </a:cubicBezTo>
                  <a:cubicBezTo>
                    <a:pt x="0" y="65"/>
                    <a:pt x="65" y="0"/>
                    <a:pt x="144" y="0"/>
                  </a:cubicBezTo>
                  <a:cubicBezTo>
                    <a:pt x="223" y="0"/>
                    <a:pt x="288" y="65"/>
                    <a:pt x="288" y="144"/>
                  </a:cubicBezTo>
                  <a:cubicBezTo>
                    <a:pt x="288" y="148"/>
                    <a:pt x="285" y="150"/>
                    <a:pt x="282" y="150"/>
                  </a:cubicBezTo>
                  <a:cubicBezTo>
                    <a:pt x="279" y="150"/>
                    <a:pt x="276" y="148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ubicBezTo>
                    <a:pt x="71" y="12"/>
                    <a:pt x="12" y="71"/>
                    <a:pt x="12" y="144"/>
                  </a:cubicBezTo>
                  <a:cubicBezTo>
                    <a:pt x="12" y="217"/>
                    <a:pt x="71" y="276"/>
                    <a:pt x="144" y="276"/>
                  </a:cubicBezTo>
                  <a:cubicBezTo>
                    <a:pt x="147" y="276"/>
                    <a:pt x="150" y="279"/>
                    <a:pt x="150" y="282"/>
                  </a:cubicBezTo>
                  <a:cubicBezTo>
                    <a:pt x="150" y="286"/>
                    <a:pt x="147" y="288"/>
                    <a:pt x="144" y="2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5" name="Freeform 85">
              <a:extLst>
                <a:ext uri="{FF2B5EF4-FFF2-40B4-BE49-F238E27FC236}">
                  <a16:creationId xmlns:a16="http://schemas.microsoft.com/office/drawing/2014/main" id="{6DBE64A5-2DCA-4C91-89EC-5BF4E9269A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23" y="2118"/>
              <a:ext cx="153" cy="154"/>
            </a:xfrm>
            <a:custGeom>
              <a:avLst/>
              <a:gdLst>
                <a:gd name="T0" fmla="*/ 52 w 103"/>
                <a:gd name="T1" fmla="*/ 104 h 104"/>
                <a:gd name="T2" fmla="*/ 0 w 103"/>
                <a:gd name="T3" fmla="*/ 52 h 104"/>
                <a:gd name="T4" fmla="*/ 52 w 103"/>
                <a:gd name="T5" fmla="*/ 0 h 104"/>
                <a:gd name="T6" fmla="*/ 103 w 103"/>
                <a:gd name="T7" fmla="*/ 52 h 104"/>
                <a:gd name="T8" fmla="*/ 52 w 103"/>
                <a:gd name="T9" fmla="*/ 104 h 104"/>
                <a:gd name="T10" fmla="*/ 52 w 103"/>
                <a:gd name="T11" fmla="*/ 12 h 104"/>
                <a:gd name="T12" fmla="*/ 12 w 103"/>
                <a:gd name="T13" fmla="*/ 52 h 104"/>
                <a:gd name="T14" fmla="*/ 52 w 103"/>
                <a:gd name="T15" fmla="*/ 92 h 104"/>
                <a:gd name="T16" fmla="*/ 91 w 103"/>
                <a:gd name="T17" fmla="*/ 52 h 104"/>
                <a:gd name="T18" fmla="*/ 52 w 103"/>
                <a:gd name="T19" fmla="*/ 1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4">
                  <a:moveTo>
                    <a:pt x="52" y="104"/>
                  </a:moveTo>
                  <a:cubicBezTo>
                    <a:pt x="23" y="104"/>
                    <a:pt x="0" y="80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80" y="0"/>
                    <a:pt x="103" y="23"/>
                    <a:pt x="103" y="52"/>
                  </a:cubicBezTo>
                  <a:cubicBezTo>
                    <a:pt x="103" y="80"/>
                    <a:pt x="80" y="104"/>
                    <a:pt x="52" y="104"/>
                  </a:cubicBezTo>
                  <a:close/>
                  <a:moveTo>
                    <a:pt x="52" y="12"/>
                  </a:moveTo>
                  <a:cubicBezTo>
                    <a:pt x="30" y="12"/>
                    <a:pt x="12" y="30"/>
                    <a:pt x="12" y="52"/>
                  </a:cubicBezTo>
                  <a:cubicBezTo>
                    <a:pt x="12" y="74"/>
                    <a:pt x="30" y="92"/>
                    <a:pt x="52" y="92"/>
                  </a:cubicBezTo>
                  <a:cubicBezTo>
                    <a:pt x="74" y="92"/>
                    <a:pt x="91" y="74"/>
                    <a:pt x="91" y="52"/>
                  </a:cubicBezTo>
                  <a:cubicBezTo>
                    <a:pt x="91" y="30"/>
                    <a:pt x="74" y="12"/>
                    <a:pt x="5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6" name="Freeform 86">
              <a:extLst>
                <a:ext uri="{FF2B5EF4-FFF2-40B4-BE49-F238E27FC236}">
                  <a16:creationId xmlns:a16="http://schemas.microsoft.com/office/drawing/2014/main" id="{C6EDE147-FDBD-4D98-9B1B-DAB796DB5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7" y="2233"/>
              <a:ext cx="83" cy="80"/>
            </a:xfrm>
            <a:custGeom>
              <a:avLst/>
              <a:gdLst>
                <a:gd name="T0" fmla="*/ 49 w 56"/>
                <a:gd name="T1" fmla="*/ 54 h 54"/>
                <a:gd name="T2" fmla="*/ 45 w 56"/>
                <a:gd name="T3" fmla="*/ 52 h 54"/>
                <a:gd name="T4" fmla="*/ 3 w 56"/>
                <a:gd name="T5" fmla="*/ 10 h 54"/>
                <a:gd name="T6" fmla="*/ 3 w 56"/>
                <a:gd name="T7" fmla="*/ 2 h 54"/>
                <a:gd name="T8" fmla="*/ 11 w 56"/>
                <a:gd name="T9" fmla="*/ 2 h 54"/>
                <a:gd name="T10" fmla="*/ 53 w 56"/>
                <a:gd name="T11" fmla="*/ 44 h 54"/>
                <a:gd name="T12" fmla="*/ 53 w 56"/>
                <a:gd name="T13" fmla="*/ 52 h 54"/>
                <a:gd name="T14" fmla="*/ 49 w 56"/>
                <a:gd name="T1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4">
                  <a:moveTo>
                    <a:pt x="49" y="54"/>
                  </a:moveTo>
                  <a:cubicBezTo>
                    <a:pt x="48" y="54"/>
                    <a:pt x="46" y="54"/>
                    <a:pt x="45" y="52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6" y="46"/>
                    <a:pt x="56" y="50"/>
                    <a:pt x="53" y="52"/>
                  </a:cubicBezTo>
                  <a:cubicBezTo>
                    <a:pt x="52" y="54"/>
                    <a:pt x="51" y="54"/>
                    <a:pt x="49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7" name="Freeform 87">
              <a:extLst>
                <a:ext uri="{FF2B5EF4-FFF2-40B4-BE49-F238E27FC236}">
                  <a16:creationId xmlns:a16="http://schemas.microsoft.com/office/drawing/2014/main" id="{92A9F2FF-5534-41B8-8500-291D74750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2" y="1894"/>
              <a:ext cx="213" cy="313"/>
            </a:xfrm>
            <a:custGeom>
              <a:avLst/>
              <a:gdLst>
                <a:gd name="T0" fmla="*/ 67 w 144"/>
                <a:gd name="T1" fmla="*/ 211 h 211"/>
                <a:gd name="T2" fmla="*/ 61 w 144"/>
                <a:gd name="T3" fmla="*/ 205 h 211"/>
                <a:gd name="T4" fmla="*/ 61 w 144"/>
                <a:gd name="T5" fmla="*/ 178 h 211"/>
                <a:gd name="T6" fmla="*/ 3 w 144"/>
                <a:gd name="T7" fmla="*/ 132 h 211"/>
                <a:gd name="T8" fmla="*/ 2 w 144"/>
                <a:gd name="T9" fmla="*/ 124 h 211"/>
                <a:gd name="T10" fmla="*/ 29 w 144"/>
                <a:gd name="T11" fmla="*/ 82 h 211"/>
                <a:gd name="T12" fmla="*/ 34 w 144"/>
                <a:gd name="T13" fmla="*/ 79 h 211"/>
                <a:gd name="T14" fmla="*/ 97 w 144"/>
                <a:gd name="T15" fmla="*/ 79 h 211"/>
                <a:gd name="T16" fmla="*/ 97 w 144"/>
                <a:gd name="T17" fmla="*/ 52 h 211"/>
                <a:gd name="T18" fmla="*/ 82 w 144"/>
                <a:gd name="T19" fmla="*/ 42 h 211"/>
                <a:gd name="T20" fmla="*/ 79 w 144"/>
                <a:gd name="T21" fmla="*/ 37 h 211"/>
                <a:gd name="T22" fmla="*/ 82 w 144"/>
                <a:gd name="T23" fmla="*/ 32 h 211"/>
                <a:gd name="T24" fmla="*/ 134 w 144"/>
                <a:gd name="T25" fmla="*/ 2 h 211"/>
                <a:gd name="T26" fmla="*/ 143 w 144"/>
                <a:gd name="T27" fmla="*/ 4 h 211"/>
                <a:gd name="T28" fmla="*/ 140 w 144"/>
                <a:gd name="T29" fmla="*/ 12 h 211"/>
                <a:gd name="T30" fmla="*/ 96 w 144"/>
                <a:gd name="T31" fmla="*/ 38 h 211"/>
                <a:gd name="T32" fmla="*/ 106 w 144"/>
                <a:gd name="T33" fmla="*/ 44 h 211"/>
                <a:gd name="T34" fmla="*/ 109 w 144"/>
                <a:gd name="T35" fmla="*/ 49 h 211"/>
                <a:gd name="T36" fmla="*/ 109 w 144"/>
                <a:gd name="T37" fmla="*/ 85 h 211"/>
                <a:gd name="T38" fmla="*/ 103 w 144"/>
                <a:gd name="T39" fmla="*/ 91 h 211"/>
                <a:gd name="T40" fmla="*/ 37 w 144"/>
                <a:gd name="T41" fmla="*/ 91 h 211"/>
                <a:gd name="T42" fmla="*/ 15 w 144"/>
                <a:gd name="T43" fmla="*/ 126 h 211"/>
                <a:gd name="T44" fmla="*/ 71 w 144"/>
                <a:gd name="T45" fmla="*/ 171 h 211"/>
                <a:gd name="T46" fmla="*/ 73 w 144"/>
                <a:gd name="T47" fmla="*/ 175 h 211"/>
                <a:gd name="T48" fmla="*/ 73 w 144"/>
                <a:gd name="T49" fmla="*/ 205 h 211"/>
                <a:gd name="T50" fmla="*/ 67 w 144"/>
                <a:gd name="T5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" h="211">
                  <a:moveTo>
                    <a:pt x="67" y="211"/>
                  </a:moveTo>
                  <a:cubicBezTo>
                    <a:pt x="64" y="211"/>
                    <a:pt x="61" y="209"/>
                    <a:pt x="61" y="205"/>
                  </a:cubicBezTo>
                  <a:cubicBezTo>
                    <a:pt x="61" y="178"/>
                    <a:pt x="61" y="178"/>
                    <a:pt x="61" y="178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30"/>
                    <a:pt x="0" y="127"/>
                    <a:pt x="2" y="124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30" y="80"/>
                    <a:pt x="32" y="79"/>
                    <a:pt x="34" y="79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0" y="41"/>
                    <a:pt x="79" y="39"/>
                    <a:pt x="79" y="37"/>
                  </a:cubicBezTo>
                  <a:cubicBezTo>
                    <a:pt x="79" y="35"/>
                    <a:pt x="80" y="33"/>
                    <a:pt x="82" y="32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1" y="1"/>
                    <a:pt x="143" y="4"/>
                  </a:cubicBezTo>
                  <a:cubicBezTo>
                    <a:pt x="144" y="7"/>
                    <a:pt x="143" y="11"/>
                    <a:pt x="140" y="12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106" y="44"/>
                    <a:pt x="106" y="44"/>
                    <a:pt x="106" y="44"/>
                  </a:cubicBezTo>
                  <a:cubicBezTo>
                    <a:pt x="108" y="45"/>
                    <a:pt x="109" y="47"/>
                    <a:pt x="109" y="49"/>
                  </a:cubicBezTo>
                  <a:cubicBezTo>
                    <a:pt x="109" y="85"/>
                    <a:pt x="109" y="85"/>
                    <a:pt x="109" y="85"/>
                  </a:cubicBezTo>
                  <a:cubicBezTo>
                    <a:pt x="109" y="89"/>
                    <a:pt x="106" y="91"/>
                    <a:pt x="103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71" y="171"/>
                    <a:pt x="71" y="171"/>
                    <a:pt x="71" y="171"/>
                  </a:cubicBezTo>
                  <a:cubicBezTo>
                    <a:pt x="72" y="172"/>
                    <a:pt x="73" y="173"/>
                    <a:pt x="73" y="175"/>
                  </a:cubicBezTo>
                  <a:cubicBezTo>
                    <a:pt x="73" y="205"/>
                    <a:pt x="73" y="205"/>
                    <a:pt x="73" y="205"/>
                  </a:cubicBezTo>
                  <a:cubicBezTo>
                    <a:pt x="73" y="209"/>
                    <a:pt x="70" y="211"/>
                    <a:pt x="67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8" name="Freeform 88">
              <a:extLst>
                <a:ext uri="{FF2B5EF4-FFF2-40B4-BE49-F238E27FC236}">
                  <a16:creationId xmlns:a16="http://schemas.microsoft.com/office/drawing/2014/main" id="{C1284ECA-1A40-449E-B2A8-FB0204C4D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3" y="1952"/>
              <a:ext cx="114" cy="108"/>
            </a:xfrm>
            <a:custGeom>
              <a:avLst/>
              <a:gdLst>
                <a:gd name="T0" fmla="*/ 7 w 77"/>
                <a:gd name="T1" fmla="*/ 73 h 73"/>
                <a:gd name="T2" fmla="*/ 3 w 77"/>
                <a:gd name="T3" fmla="*/ 71 h 73"/>
                <a:gd name="T4" fmla="*/ 3 w 77"/>
                <a:gd name="T5" fmla="*/ 63 h 73"/>
                <a:gd name="T6" fmla="*/ 24 w 77"/>
                <a:gd name="T7" fmla="*/ 42 h 73"/>
                <a:gd name="T8" fmla="*/ 28 w 77"/>
                <a:gd name="T9" fmla="*/ 40 h 73"/>
                <a:gd name="T10" fmla="*/ 45 w 77"/>
                <a:gd name="T11" fmla="*/ 40 h 73"/>
                <a:gd name="T12" fmla="*/ 65 w 77"/>
                <a:gd name="T13" fmla="*/ 4 h 73"/>
                <a:gd name="T14" fmla="*/ 73 w 77"/>
                <a:gd name="T15" fmla="*/ 2 h 73"/>
                <a:gd name="T16" fmla="*/ 75 w 77"/>
                <a:gd name="T17" fmla="*/ 10 h 73"/>
                <a:gd name="T18" fmla="*/ 54 w 77"/>
                <a:gd name="T19" fmla="*/ 49 h 73"/>
                <a:gd name="T20" fmla="*/ 49 w 77"/>
                <a:gd name="T21" fmla="*/ 52 h 73"/>
                <a:gd name="T22" fmla="*/ 31 w 77"/>
                <a:gd name="T23" fmla="*/ 52 h 73"/>
                <a:gd name="T24" fmla="*/ 11 w 77"/>
                <a:gd name="T25" fmla="*/ 71 h 73"/>
                <a:gd name="T26" fmla="*/ 7 w 77"/>
                <a:gd name="T2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7" h="73">
                  <a:moveTo>
                    <a:pt x="7" y="73"/>
                  </a:moveTo>
                  <a:cubicBezTo>
                    <a:pt x="6" y="73"/>
                    <a:pt x="4" y="73"/>
                    <a:pt x="3" y="71"/>
                  </a:cubicBezTo>
                  <a:cubicBezTo>
                    <a:pt x="0" y="69"/>
                    <a:pt x="0" y="65"/>
                    <a:pt x="3" y="63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5" y="41"/>
                    <a:pt x="26" y="40"/>
                    <a:pt x="28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6" y="2"/>
                    <a:pt x="70" y="0"/>
                    <a:pt x="73" y="2"/>
                  </a:cubicBezTo>
                  <a:cubicBezTo>
                    <a:pt x="76" y="4"/>
                    <a:pt x="77" y="7"/>
                    <a:pt x="75" y="10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3" y="51"/>
                    <a:pt x="51" y="52"/>
                    <a:pt x="4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0" y="73"/>
                    <a:pt x="9" y="73"/>
                    <a:pt x="7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79" name="Group 83">
            <a:extLst>
              <a:ext uri="{FF2B5EF4-FFF2-40B4-BE49-F238E27FC236}">
                <a16:creationId xmlns:a16="http://schemas.microsoft.com/office/drawing/2014/main" id="{1D18576C-399A-4950-B5C3-A7A0574A82C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11235" y="3706001"/>
            <a:ext cx="433203" cy="431178"/>
            <a:chOff x="2592" y="1887"/>
            <a:chExt cx="428" cy="426"/>
          </a:xfrm>
          <a:solidFill>
            <a:srgbClr val="2EBEB9"/>
          </a:solidFill>
        </p:grpSpPr>
        <p:sp>
          <p:nvSpPr>
            <p:cNvPr id="80" name="Freeform 84">
              <a:extLst>
                <a:ext uri="{FF2B5EF4-FFF2-40B4-BE49-F238E27FC236}">
                  <a16:creationId xmlns:a16="http://schemas.microsoft.com/office/drawing/2014/main" id="{09A7D242-E89E-40E7-B9D8-CCE7DAD574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2" y="1887"/>
              <a:ext cx="427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282 w 288"/>
                <a:gd name="T9" fmla="*/ 150 h 288"/>
                <a:gd name="T10" fmla="*/ 276 w 288"/>
                <a:gd name="T11" fmla="*/ 144 h 288"/>
                <a:gd name="T12" fmla="*/ 144 w 288"/>
                <a:gd name="T13" fmla="*/ 12 h 288"/>
                <a:gd name="T14" fmla="*/ 12 w 288"/>
                <a:gd name="T15" fmla="*/ 144 h 288"/>
                <a:gd name="T16" fmla="*/ 144 w 288"/>
                <a:gd name="T17" fmla="*/ 276 h 288"/>
                <a:gd name="T18" fmla="*/ 150 w 288"/>
                <a:gd name="T19" fmla="*/ 282 h 288"/>
                <a:gd name="T20" fmla="*/ 144 w 288"/>
                <a:gd name="T21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4"/>
                    <a:pt x="0" y="144"/>
                  </a:cubicBezTo>
                  <a:cubicBezTo>
                    <a:pt x="0" y="65"/>
                    <a:pt x="65" y="0"/>
                    <a:pt x="144" y="0"/>
                  </a:cubicBezTo>
                  <a:cubicBezTo>
                    <a:pt x="223" y="0"/>
                    <a:pt x="288" y="65"/>
                    <a:pt x="288" y="144"/>
                  </a:cubicBezTo>
                  <a:cubicBezTo>
                    <a:pt x="288" y="148"/>
                    <a:pt x="285" y="150"/>
                    <a:pt x="282" y="150"/>
                  </a:cubicBezTo>
                  <a:cubicBezTo>
                    <a:pt x="279" y="150"/>
                    <a:pt x="276" y="148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ubicBezTo>
                    <a:pt x="71" y="12"/>
                    <a:pt x="12" y="71"/>
                    <a:pt x="12" y="144"/>
                  </a:cubicBezTo>
                  <a:cubicBezTo>
                    <a:pt x="12" y="217"/>
                    <a:pt x="71" y="276"/>
                    <a:pt x="144" y="276"/>
                  </a:cubicBezTo>
                  <a:cubicBezTo>
                    <a:pt x="147" y="276"/>
                    <a:pt x="150" y="279"/>
                    <a:pt x="150" y="282"/>
                  </a:cubicBezTo>
                  <a:cubicBezTo>
                    <a:pt x="150" y="286"/>
                    <a:pt x="147" y="288"/>
                    <a:pt x="144" y="2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81" name="Freeform 85">
              <a:extLst>
                <a:ext uri="{FF2B5EF4-FFF2-40B4-BE49-F238E27FC236}">
                  <a16:creationId xmlns:a16="http://schemas.microsoft.com/office/drawing/2014/main" id="{20FE92C7-B780-4977-941D-47F3D6D6D2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23" y="2118"/>
              <a:ext cx="153" cy="154"/>
            </a:xfrm>
            <a:custGeom>
              <a:avLst/>
              <a:gdLst>
                <a:gd name="T0" fmla="*/ 52 w 103"/>
                <a:gd name="T1" fmla="*/ 104 h 104"/>
                <a:gd name="T2" fmla="*/ 0 w 103"/>
                <a:gd name="T3" fmla="*/ 52 h 104"/>
                <a:gd name="T4" fmla="*/ 52 w 103"/>
                <a:gd name="T5" fmla="*/ 0 h 104"/>
                <a:gd name="T6" fmla="*/ 103 w 103"/>
                <a:gd name="T7" fmla="*/ 52 h 104"/>
                <a:gd name="T8" fmla="*/ 52 w 103"/>
                <a:gd name="T9" fmla="*/ 104 h 104"/>
                <a:gd name="T10" fmla="*/ 52 w 103"/>
                <a:gd name="T11" fmla="*/ 12 h 104"/>
                <a:gd name="T12" fmla="*/ 12 w 103"/>
                <a:gd name="T13" fmla="*/ 52 h 104"/>
                <a:gd name="T14" fmla="*/ 52 w 103"/>
                <a:gd name="T15" fmla="*/ 92 h 104"/>
                <a:gd name="T16" fmla="*/ 91 w 103"/>
                <a:gd name="T17" fmla="*/ 52 h 104"/>
                <a:gd name="T18" fmla="*/ 52 w 103"/>
                <a:gd name="T19" fmla="*/ 1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4">
                  <a:moveTo>
                    <a:pt x="52" y="104"/>
                  </a:moveTo>
                  <a:cubicBezTo>
                    <a:pt x="23" y="104"/>
                    <a:pt x="0" y="80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80" y="0"/>
                    <a:pt x="103" y="23"/>
                    <a:pt x="103" y="52"/>
                  </a:cubicBezTo>
                  <a:cubicBezTo>
                    <a:pt x="103" y="80"/>
                    <a:pt x="80" y="104"/>
                    <a:pt x="52" y="104"/>
                  </a:cubicBezTo>
                  <a:close/>
                  <a:moveTo>
                    <a:pt x="52" y="12"/>
                  </a:moveTo>
                  <a:cubicBezTo>
                    <a:pt x="30" y="12"/>
                    <a:pt x="12" y="30"/>
                    <a:pt x="12" y="52"/>
                  </a:cubicBezTo>
                  <a:cubicBezTo>
                    <a:pt x="12" y="74"/>
                    <a:pt x="30" y="92"/>
                    <a:pt x="52" y="92"/>
                  </a:cubicBezTo>
                  <a:cubicBezTo>
                    <a:pt x="74" y="92"/>
                    <a:pt x="91" y="74"/>
                    <a:pt x="91" y="52"/>
                  </a:cubicBezTo>
                  <a:cubicBezTo>
                    <a:pt x="91" y="30"/>
                    <a:pt x="74" y="12"/>
                    <a:pt x="5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82" name="Freeform 86">
              <a:extLst>
                <a:ext uri="{FF2B5EF4-FFF2-40B4-BE49-F238E27FC236}">
                  <a16:creationId xmlns:a16="http://schemas.microsoft.com/office/drawing/2014/main" id="{82D16D95-1D17-46BB-8A43-8BEA1612AD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7" y="2233"/>
              <a:ext cx="83" cy="80"/>
            </a:xfrm>
            <a:custGeom>
              <a:avLst/>
              <a:gdLst>
                <a:gd name="T0" fmla="*/ 49 w 56"/>
                <a:gd name="T1" fmla="*/ 54 h 54"/>
                <a:gd name="T2" fmla="*/ 45 w 56"/>
                <a:gd name="T3" fmla="*/ 52 h 54"/>
                <a:gd name="T4" fmla="*/ 3 w 56"/>
                <a:gd name="T5" fmla="*/ 10 h 54"/>
                <a:gd name="T6" fmla="*/ 3 w 56"/>
                <a:gd name="T7" fmla="*/ 2 h 54"/>
                <a:gd name="T8" fmla="*/ 11 w 56"/>
                <a:gd name="T9" fmla="*/ 2 h 54"/>
                <a:gd name="T10" fmla="*/ 53 w 56"/>
                <a:gd name="T11" fmla="*/ 44 h 54"/>
                <a:gd name="T12" fmla="*/ 53 w 56"/>
                <a:gd name="T13" fmla="*/ 52 h 54"/>
                <a:gd name="T14" fmla="*/ 49 w 56"/>
                <a:gd name="T1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4">
                  <a:moveTo>
                    <a:pt x="49" y="54"/>
                  </a:moveTo>
                  <a:cubicBezTo>
                    <a:pt x="48" y="54"/>
                    <a:pt x="46" y="54"/>
                    <a:pt x="45" y="52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6" y="46"/>
                    <a:pt x="56" y="50"/>
                    <a:pt x="53" y="52"/>
                  </a:cubicBezTo>
                  <a:cubicBezTo>
                    <a:pt x="52" y="54"/>
                    <a:pt x="51" y="54"/>
                    <a:pt x="49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83" name="Freeform 87">
              <a:extLst>
                <a:ext uri="{FF2B5EF4-FFF2-40B4-BE49-F238E27FC236}">
                  <a16:creationId xmlns:a16="http://schemas.microsoft.com/office/drawing/2014/main" id="{24391B7E-0B2F-4EFE-9ACA-CDB14B9BF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2" y="1894"/>
              <a:ext cx="213" cy="313"/>
            </a:xfrm>
            <a:custGeom>
              <a:avLst/>
              <a:gdLst>
                <a:gd name="T0" fmla="*/ 67 w 144"/>
                <a:gd name="T1" fmla="*/ 211 h 211"/>
                <a:gd name="T2" fmla="*/ 61 w 144"/>
                <a:gd name="T3" fmla="*/ 205 h 211"/>
                <a:gd name="T4" fmla="*/ 61 w 144"/>
                <a:gd name="T5" fmla="*/ 178 h 211"/>
                <a:gd name="T6" fmla="*/ 3 w 144"/>
                <a:gd name="T7" fmla="*/ 132 h 211"/>
                <a:gd name="T8" fmla="*/ 2 w 144"/>
                <a:gd name="T9" fmla="*/ 124 h 211"/>
                <a:gd name="T10" fmla="*/ 29 w 144"/>
                <a:gd name="T11" fmla="*/ 82 h 211"/>
                <a:gd name="T12" fmla="*/ 34 w 144"/>
                <a:gd name="T13" fmla="*/ 79 h 211"/>
                <a:gd name="T14" fmla="*/ 97 w 144"/>
                <a:gd name="T15" fmla="*/ 79 h 211"/>
                <a:gd name="T16" fmla="*/ 97 w 144"/>
                <a:gd name="T17" fmla="*/ 52 h 211"/>
                <a:gd name="T18" fmla="*/ 82 w 144"/>
                <a:gd name="T19" fmla="*/ 42 h 211"/>
                <a:gd name="T20" fmla="*/ 79 w 144"/>
                <a:gd name="T21" fmla="*/ 37 h 211"/>
                <a:gd name="T22" fmla="*/ 82 w 144"/>
                <a:gd name="T23" fmla="*/ 32 h 211"/>
                <a:gd name="T24" fmla="*/ 134 w 144"/>
                <a:gd name="T25" fmla="*/ 2 h 211"/>
                <a:gd name="T26" fmla="*/ 143 w 144"/>
                <a:gd name="T27" fmla="*/ 4 h 211"/>
                <a:gd name="T28" fmla="*/ 140 w 144"/>
                <a:gd name="T29" fmla="*/ 12 h 211"/>
                <a:gd name="T30" fmla="*/ 96 w 144"/>
                <a:gd name="T31" fmla="*/ 38 h 211"/>
                <a:gd name="T32" fmla="*/ 106 w 144"/>
                <a:gd name="T33" fmla="*/ 44 h 211"/>
                <a:gd name="T34" fmla="*/ 109 w 144"/>
                <a:gd name="T35" fmla="*/ 49 h 211"/>
                <a:gd name="T36" fmla="*/ 109 w 144"/>
                <a:gd name="T37" fmla="*/ 85 h 211"/>
                <a:gd name="T38" fmla="*/ 103 w 144"/>
                <a:gd name="T39" fmla="*/ 91 h 211"/>
                <a:gd name="T40" fmla="*/ 37 w 144"/>
                <a:gd name="T41" fmla="*/ 91 h 211"/>
                <a:gd name="T42" fmla="*/ 15 w 144"/>
                <a:gd name="T43" fmla="*/ 126 h 211"/>
                <a:gd name="T44" fmla="*/ 71 w 144"/>
                <a:gd name="T45" fmla="*/ 171 h 211"/>
                <a:gd name="T46" fmla="*/ 73 w 144"/>
                <a:gd name="T47" fmla="*/ 175 h 211"/>
                <a:gd name="T48" fmla="*/ 73 w 144"/>
                <a:gd name="T49" fmla="*/ 205 h 211"/>
                <a:gd name="T50" fmla="*/ 67 w 144"/>
                <a:gd name="T5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" h="211">
                  <a:moveTo>
                    <a:pt x="67" y="211"/>
                  </a:moveTo>
                  <a:cubicBezTo>
                    <a:pt x="64" y="211"/>
                    <a:pt x="61" y="209"/>
                    <a:pt x="61" y="205"/>
                  </a:cubicBezTo>
                  <a:cubicBezTo>
                    <a:pt x="61" y="178"/>
                    <a:pt x="61" y="178"/>
                    <a:pt x="61" y="178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30"/>
                    <a:pt x="0" y="127"/>
                    <a:pt x="2" y="124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30" y="80"/>
                    <a:pt x="32" y="79"/>
                    <a:pt x="34" y="79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0" y="41"/>
                    <a:pt x="79" y="39"/>
                    <a:pt x="79" y="37"/>
                  </a:cubicBezTo>
                  <a:cubicBezTo>
                    <a:pt x="79" y="35"/>
                    <a:pt x="80" y="33"/>
                    <a:pt x="82" y="32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1" y="1"/>
                    <a:pt x="143" y="4"/>
                  </a:cubicBezTo>
                  <a:cubicBezTo>
                    <a:pt x="144" y="7"/>
                    <a:pt x="143" y="11"/>
                    <a:pt x="140" y="12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106" y="44"/>
                    <a:pt x="106" y="44"/>
                    <a:pt x="106" y="44"/>
                  </a:cubicBezTo>
                  <a:cubicBezTo>
                    <a:pt x="108" y="45"/>
                    <a:pt x="109" y="47"/>
                    <a:pt x="109" y="49"/>
                  </a:cubicBezTo>
                  <a:cubicBezTo>
                    <a:pt x="109" y="85"/>
                    <a:pt x="109" y="85"/>
                    <a:pt x="109" y="85"/>
                  </a:cubicBezTo>
                  <a:cubicBezTo>
                    <a:pt x="109" y="89"/>
                    <a:pt x="106" y="91"/>
                    <a:pt x="103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71" y="171"/>
                    <a:pt x="71" y="171"/>
                    <a:pt x="71" y="171"/>
                  </a:cubicBezTo>
                  <a:cubicBezTo>
                    <a:pt x="72" y="172"/>
                    <a:pt x="73" y="173"/>
                    <a:pt x="73" y="175"/>
                  </a:cubicBezTo>
                  <a:cubicBezTo>
                    <a:pt x="73" y="205"/>
                    <a:pt x="73" y="205"/>
                    <a:pt x="73" y="205"/>
                  </a:cubicBezTo>
                  <a:cubicBezTo>
                    <a:pt x="73" y="209"/>
                    <a:pt x="70" y="211"/>
                    <a:pt x="67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84" name="Freeform 88">
              <a:extLst>
                <a:ext uri="{FF2B5EF4-FFF2-40B4-BE49-F238E27FC236}">
                  <a16:creationId xmlns:a16="http://schemas.microsoft.com/office/drawing/2014/main" id="{80E789DF-E64A-4206-8116-F03F5E7ECF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3" y="1952"/>
              <a:ext cx="114" cy="108"/>
            </a:xfrm>
            <a:custGeom>
              <a:avLst/>
              <a:gdLst>
                <a:gd name="T0" fmla="*/ 7 w 77"/>
                <a:gd name="T1" fmla="*/ 73 h 73"/>
                <a:gd name="T2" fmla="*/ 3 w 77"/>
                <a:gd name="T3" fmla="*/ 71 h 73"/>
                <a:gd name="T4" fmla="*/ 3 w 77"/>
                <a:gd name="T5" fmla="*/ 63 h 73"/>
                <a:gd name="T6" fmla="*/ 24 w 77"/>
                <a:gd name="T7" fmla="*/ 42 h 73"/>
                <a:gd name="T8" fmla="*/ 28 w 77"/>
                <a:gd name="T9" fmla="*/ 40 h 73"/>
                <a:gd name="T10" fmla="*/ 45 w 77"/>
                <a:gd name="T11" fmla="*/ 40 h 73"/>
                <a:gd name="T12" fmla="*/ 65 w 77"/>
                <a:gd name="T13" fmla="*/ 4 h 73"/>
                <a:gd name="T14" fmla="*/ 73 w 77"/>
                <a:gd name="T15" fmla="*/ 2 h 73"/>
                <a:gd name="T16" fmla="*/ 75 w 77"/>
                <a:gd name="T17" fmla="*/ 10 h 73"/>
                <a:gd name="T18" fmla="*/ 54 w 77"/>
                <a:gd name="T19" fmla="*/ 49 h 73"/>
                <a:gd name="T20" fmla="*/ 49 w 77"/>
                <a:gd name="T21" fmla="*/ 52 h 73"/>
                <a:gd name="T22" fmla="*/ 31 w 77"/>
                <a:gd name="T23" fmla="*/ 52 h 73"/>
                <a:gd name="T24" fmla="*/ 11 w 77"/>
                <a:gd name="T25" fmla="*/ 71 h 73"/>
                <a:gd name="T26" fmla="*/ 7 w 77"/>
                <a:gd name="T2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7" h="73">
                  <a:moveTo>
                    <a:pt x="7" y="73"/>
                  </a:moveTo>
                  <a:cubicBezTo>
                    <a:pt x="6" y="73"/>
                    <a:pt x="4" y="73"/>
                    <a:pt x="3" y="71"/>
                  </a:cubicBezTo>
                  <a:cubicBezTo>
                    <a:pt x="0" y="69"/>
                    <a:pt x="0" y="65"/>
                    <a:pt x="3" y="63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5" y="41"/>
                    <a:pt x="26" y="40"/>
                    <a:pt x="28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6" y="2"/>
                    <a:pt x="70" y="0"/>
                    <a:pt x="73" y="2"/>
                  </a:cubicBezTo>
                  <a:cubicBezTo>
                    <a:pt x="76" y="4"/>
                    <a:pt x="77" y="7"/>
                    <a:pt x="75" y="10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3" y="51"/>
                    <a:pt x="51" y="52"/>
                    <a:pt x="4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0" y="73"/>
                    <a:pt x="9" y="73"/>
                    <a:pt x="7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85" name="Group 226">
            <a:extLst>
              <a:ext uri="{FF2B5EF4-FFF2-40B4-BE49-F238E27FC236}">
                <a16:creationId xmlns:a16="http://schemas.microsoft.com/office/drawing/2014/main" id="{3EAA7720-5424-4EB4-ADF2-696E136AD3D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983898" y="2478608"/>
            <a:ext cx="393588" cy="431178"/>
            <a:chOff x="2437" y="456"/>
            <a:chExt cx="356" cy="390"/>
          </a:xfrm>
          <a:solidFill>
            <a:srgbClr val="2EBEB9"/>
          </a:solidFill>
        </p:grpSpPr>
        <p:sp>
          <p:nvSpPr>
            <p:cNvPr id="86" name="Freeform 227">
              <a:extLst>
                <a:ext uri="{FF2B5EF4-FFF2-40B4-BE49-F238E27FC236}">
                  <a16:creationId xmlns:a16="http://schemas.microsoft.com/office/drawing/2014/main" id="{8DF54DDD-7ED3-4AC2-B3A8-CAD4707F6D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7" y="456"/>
              <a:ext cx="356" cy="160"/>
            </a:xfrm>
            <a:custGeom>
              <a:avLst/>
              <a:gdLst>
                <a:gd name="T0" fmla="*/ 120 w 240"/>
                <a:gd name="T1" fmla="*/ 108 h 108"/>
                <a:gd name="T2" fmla="*/ 0 w 240"/>
                <a:gd name="T3" fmla="*/ 54 h 108"/>
                <a:gd name="T4" fmla="*/ 120 w 240"/>
                <a:gd name="T5" fmla="*/ 0 h 108"/>
                <a:gd name="T6" fmla="*/ 240 w 240"/>
                <a:gd name="T7" fmla="*/ 54 h 108"/>
                <a:gd name="T8" fmla="*/ 120 w 240"/>
                <a:gd name="T9" fmla="*/ 108 h 108"/>
                <a:gd name="T10" fmla="*/ 120 w 240"/>
                <a:gd name="T11" fmla="*/ 12 h 108"/>
                <a:gd name="T12" fmla="*/ 12 w 240"/>
                <a:gd name="T13" fmla="*/ 54 h 108"/>
                <a:gd name="T14" fmla="*/ 120 w 240"/>
                <a:gd name="T15" fmla="*/ 96 h 108"/>
                <a:gd name="T16" fmla="*/ 228 w 240"/>
                <a:gd name="T17" fmla="*/ 54 h 108"/>
                <a:gd name="T18" fmla="*/ 120 w 240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0" h="108">
                  <a:moveTo>
                    <a:pt x="120" y="108"/>
                  </a:moveTo>
                  <a:cubicBezTo>
                    <a:pt x="52" y="108"/>
                    <a:pt x="0" y="84"/>
                    <a:pt x="0" y="54"/>
                  </a:cubicBezTo>
                  <a:cubicBezTo>
                    <a:pt x="0" y="23"/>
                    <a:pt x="52" y="0"/>
                    <a:pt x="120" y="0"/>
                  </a:cubicBezTo>
                  <a:cubicBezTo>
                    <a:pt x="187" y="0"/>
                    <a:pt x="240" y="23"/>
                    <a:pt x="240" y="54"/>
                  </a:cubicBezTo>
                  <a:cubicBezTo>
                    <a:pt x="240" y="84"/>
                    <a:pt x="187" y="108"/>
                    <a:pt x="120" y="108"/>
                  </a:cubicBezTo>
                  <a:close/>
                  <a:moveTo>
                    <a:pt x="120" y="12"/>
                  </a:moveTo>
                  <a:cubicBezTo>
                    <a:pt x="56" y="12"/>
                    <a:pt x="12" y="34"/>
                    <a:pt x="12" y="54"/>
                  </a:cubicBezTo>
                  <a:cubicBezTo>
                    <a:pt x="12" y="74"/>
                    <a:pt x="56" y="96"/>
                    <a:pt x="120" y="96"/>
                  </a:cubicBezTo>
                  <a:cubicBezTo>
                    <a:pt x="183" y="96"/>
                    <a:pt x="228" y="74"/>
                    <a:pt x="228" y="54"/>
                  </a:cubicBezTo>
                  <a:cubicBezTo>
                    <a:pt x="228" y="34"/>
                    <a:pt x="18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87" name="Freeform 228">
              <a:extLst>
                <a:ext uri="{FF2B5EF4-FFF2-40B4-BE49-F238E27FC236}">
                  <a16:creationId xmlns:a16="http://schemas.microsoft.com/office/drawing/2014/main" id="{2372E2BE-6F8A-479E-9DEB-56E9F1420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7" y="598"/>
              <a:ext cx="356" cy="89"/>
            </a:xfrm>
            <a:custGeom>
              <a:avLst/>
              <a:gdLst>
                <a:gd name="T0" fmla="*/ 120 w 240"/>
                <a:gd name="T1" fmla="*/ 60 h 60"/>
                <a:gd name="T2" fmla="*/ 0 w 240"/>
                <a:gd name="T3" fmla="*/ 6 h 60"/>
                <a:gd name="T4" fmla="*/ 6 w 240"/>
                <a:gd name="T5" fmla="*/ 0 h 60"/>
                <a:gd name="T6" fmla="*/ 12 w 240"/>
                <a:gd name="T7" fmla="*/ 6 h 60"/>
                <a:gd name="T8" fmla="*/ 120 w 240"/>
                <a:gd name="T9" fmla="*/ 48 h 60"/>
                <a:gd name="T10" fmla="*/ 228 w 240"/>
                <a:gd name="T11" fmla="*/ 6 h 60"/>
                <a:gd name="T12" fmla="*/ 234 w 240"/>
                <a:gd name="T13" fmla="*/ 0 h 60"/>
                <a:gd name="T14" fmla="*/ 240 w 240"/>
                <a:gd name="T15" fmla="*/ 6 h 60"/>
                <a:gd name="T16" fmla="*/ 120 w 240"/>
                <a:gd name="T1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60">
                  <a:moveTo>
                    <a:pt x="120" y="60"/>
                  </a:moveTo>
                  <a:cubicBezTo>
                    <a:pt x="52" y="60"/>
                    <a:pt x="0" y="3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26"/>
                    <a:pt x="56" y="48"/>
                    <a:pt x="120" y="48"/>
                  </a:cubicBezTo>
                  <a:cubicBezTo>
                    <a:pt x="183" y="48"/>
                    <a:pt x="228" y="26"/>
                    <a:pt x="228" y="6"/>
                  </a:cubicBezTo>
                  <a:cubicBezTo>
                    <a:pt x="228" y="2"/>
                    <a:pt x="230" y="0"/>
                    <a:pt x="234" y="0"/>
                  </a:cubicBezTo>
                  <a:cubicBezTo>
                    <a:pt x="237" y="0"/>
                    <a:pt x="240" y="2"/>
                    <a:pt x="240" y="6"/>
                  </a:cubicBezTo>
                  <a:cubicBezTo>
                    <a:pt x="240" y="36"/>
                    <a:pt x="187" y="60"/>
                    <a:pt x="12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88" name="Freeform 229">
              <a:extLst>
                <a:ext uri="{FF2B5EF4-FFF2-40B4-BE49-F238E27FC236}">
                  <a16:creationId xmlns:a16="http://schemas.microsoft.com/office/drawing/2014/main" id="{6FF83ABA-4873-422D-B89B-4A4A5C8D8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7" y="678"/>
              <a:ext cx="356" cy="88"/>
            </a:xfrm>
            <a:custGeom>
              <a:avLst/>
              <a:gdLst>
                <a:gd name="T0" fmla="*/ 120 w 240"/>
                <a:gd name="T1" fmla="*/ 60 h 60"/>
                <a:gd name="T2" fmla="*/ 0 w 240"/>
                <a:gd name="T3" fmla="*/ 6 h 60"/>
                <a:gd name="T4" fmla="*/ 6 w 240"/>
                <a:gd name="T5" fmla="*/ 0 h 60"/>
                <a:gd name="T6" fmla="*/ 12 w 240"/>
                <a:gd name="T7" fmla="*/ 6 h 60"/>
                <a:gd name="T8" fmla="*/ 120 w 240"/>
                <a:gd name="T9" fmla="*/ 48 h 60"/>
                <a:gd name="T10" fmla="*/ 228 w 240"/>
                <a:gd name="T11" fmla="*/ 6 h 60"/>
                <a:gd name="T12" fmla="*/ 234 w 240"/>
                <a:gd name="T13" fmla="*/ 0 h 60"/>
                <a:gd name="T14" fmla="*/ 240 w 240"/>
                <a:gd name="T15" fmla="*/ 6 h 60"/>
                <a:gd name="T16" fmla="*/ 120 w 240"/>
                <a:gd name="T1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60">
                  <a:moveTo>
                    <a:pt x="120" y="60"/>
                  </a:moveTo>
                  <a:cubicBezTo>
                    <a:pt x="52" y="60"/>
                    <a:pt x="0" y="3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26"/>
                    <a:pt x="56" y="48"/>
                    <a:pt x="120" y="48"/>
                  </a:cubicBezTo>
                  <a:cubicBezTo>
                    <a:pt x="183" y="48"/>
                    <a:pt x="228" y="26"/>
                    <a:pt x="228" y="6"/>
                  </a:cubicBezTo>
                  <a:cubicBezTo>
                    <a:pt x="228" y="2"/>
                    <a:pt x="230" y="0"/>
                    <a:pt x="234" y="0"/>
                  </a:cubicBezTo>
                  <a:cubicBezTo>
                    <a:pt x="237" y="0"/>
                    <a:pt x="240" y="2"/>
                    <a:pt x="240" y="6"/>
                  </a:cubicBezTo>
                  <a:cubicBezTo>
                    <a:pt x="240" y="36"/>
                    <a:pt x="187" y="60"/>
                    <a:pt x="12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89" name="Freeform 230">
              <a:extLst>
                <a:ext uri="{FF2B5EF4-FFF2-40B4-BE49-F238E27FC236}">
                  <a16:creationId xmlns:a16="http://schemas.microsoft.com/office/drawing/2014/main" id="{17CCF0D8-E4B7-4DE7-819D-8FDC23150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7" y="527"/>
              <a:ext cx="356" cy="319"/>
            </a:xfrm>
            <a:custGeom>
              <a:avLst/>
              <a:gdLst>
                <a:gd name="T0" fmla="*/ 120 w 240"/>
                <a:gd name="T1" fmla="*/ 216 h 216"/>
                <a:gd name="T2" fmla="*/ 0 w 240"/>
                <a:gd name="T3" fmla="*/ 162 h 216"/>
                <a:gd name="T4" fmla="*/ 0 w 240"/>
                <a:gd name="T5" fmla="*/ 6 h 216"/>
                <a:gd name="T6" fmla="*/ 6 w 240"/>
                <a:gd name="T7" fmla="*/ 0 h 216"/>
                <a:gd name="T8" fmla="*/ 12 w 240"/>
                <a:gd name="T9" fmla="*/ 6 h 216"/>
                <a:gd name="T10" fmla="*/ 12 w 240"/>
                <a:gd name="T11" fmla="*/ 162 h 216"/>
                <a:gd name="T12" fmla="*/ 120 w 240"/>
                <a:gd name="T13" fmla="*/ 204 h 216"/>
                <a:gd name="T14" fmla="*/ 228 w 240"/>
                <a:gd name="T15" fmla="*/ 162 h 216"/>
                <a:gd name="T16" fmla="*/ 228 w 240"/>
                <a:gd name="T17" fmla="*/ 6 h 216"/>
                <a:gd name="T18" fmla="*/ 234 w 240"/>
                <a:gd name="T19" fmla="*/ 0 h 216"/>
                <a:gd name="T20" fmla="*/ 240 w 240"/>
                <a:gd name="T21" fmla="*/ 6 h 216"/>
                <a:gd name="T22" fmla="*/ 240 w 240"/>
                <a:gd name="T23" fmla="*/ 162 h 216"/>
                <a:gd name="T24" fmla="*/ 120 w 240"/>
                <a:gd name="T2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0" h="216">
                  <a:moveTo>
                    <a:pt x="120" y="216"/>
                  </a:moveTo>
                  <a:cubicBezTo>
                    <a:pt x="52" y="216"/>
                    <a:pt x="0" y="192"/>
                    <a:pt x="0" y="16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82"/>
                    <a:pt x="56" y="204"/>
                    <a:pt x="120" y="204"/>
                  </a:cubicBezTo>
                  <a:cubicBezTo>
                    <a:pt x="183" y="204"/>
                    <a:pt x="228" y="182"/>
                    <a:pt x="228" y="162"/>
                  </a:cubicBezTo>
                  <a:cubicBezTo>
                    <a:pt x="228" y="6"/>
                    <a:pt x="228" y="6"/>
                    <a:pt x="228" y="6"/>
                  </a:cubicBezTo>
                  <a:cubicBezTo>
                    <a:pt x="228" y="2"/>
                    <a:pt x="230" y="0"/>
                    <a:pt x="234" y="0"/>
                  </a:cubicBezTo>
                  <a:cubicBezTo>
                    <a:pt x="237" y="0"/>
                    <a:pt x="240" y="2"/>
                    <a:pt x="240" y="6"/>
                  </a:cubicBezTo>
                  <a:cubicBezTo>
                    <a:pt x="240" y="162"/>
                    <a:pt x="240" y="162"/>
                    <a:pt x="240" y="162"/>
                  </a:cubicBezTo>
                  <a:cubicBezTo>
                    <a:pt x="240" y="192"/>
                    <a:pt x="187" y="216"/>
                    <a:pt x="120" y="2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282229C8-F29E-49BA-BFB7-62B6D75379DC}"/>
              </a:ext>
            </a:extLst>
          </p:cNvPr>
          <p:cNvGrpSpPr/>
          <p:nvPr/>
        </p:nvGrpSpPr>
        <p:grpSpPr>
          <a:xfrm>
            <a:off x="8535333" y="3706001"/>
            <a:ext cx="393588" cy="431178"/>
            <a:chOff x="8394701" y="-106362"/>
            <a:chExt cx="527050" cy="635000"/>
          </a:xfrm>
          <a:solidFill>
            <a:srgbClr val="2EBEB9"/>
          </a:solidFill>
        </p:grpSpPr>
        <p:sp>
          <p:nvSpPr>
            <p:cNvPr id="91" name="Freeform 53">
              <a:extLst>
                <a:ext uri="{FF2B5EF4-FFF2-40B4-BE49-F238E27FC236}">
                  <a16:creationId xmlns:a16="http://schemas.microsoft.com/office/drawing/2014/main" id="{BA53080C-8517-4ED0-9C13-F30C9FDF62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94701" y="-106362"/>
              <a:ext cx="395288" cy="635000"/>
            </a:xfrm>
            <a:custGeom>
              <a:avLst/>
              <a:gdLst>
                <a:gd name="T0" fmla="*/ 40 w 60"/>
                <a:gd name="T1" fmla="*/ 38 h 96"/>
                <a:gd name="T2" fmla="*/ 40 w 60"/>
                <a:gd name="T3" fmla="*/ 12 h 96"/>
                <a:gd name="T4" fmla="*/ 44 w 60"/>
                <a:gd name="T5" fmla="*/ 6 h 96"/>
                <a:gd name="T6" fmla="*/ 38 w 60"/>
                <a:gd name="T7" fmla="*/ 0 h 96"/>
                <a:gd name="T8" fmla="*/ 22 w 60"/>
                <a:gd name="T9" fmla="*/ 0 h 96"/>
                <a:gd name="T10" fmla="*/ 16 w 60"/>
                <a:gd name="T11" fmla="*/ 6 h 96"/>
                <a:gd name="T12" fmla="*/ 20 w 60"/>
                <a:gd name="T13" fmla="*/ 12 h 96"/>
                <a:gd name="T14" fmla="*/ 20 w 60"/>
                <a:gd name="T15" fmla="*/ 38 h 96"/>
                <a:gd name="T16" fmla="*/ 0 w 60"/>
                <a:gd name="T17" fmla="*/ 66 h 96"/>
                <a:gd name="T18" fmla="*/ 30 w 60"/>
                <a:gd name="T19" fmla="*/ 96 h 96"/>
                <a:gd name="T20" fmla="*/ 60 w 60"/>
                <a:gd name="T21" fmla="*/ 66 h 96"/>
                <a:gd name="T22" fmla="*/ 40 w 60"/>
                <a:gd name="T23" fmla="*/ 38 h 96"/>
                <a:gd name="T24" fmla="*/ 22 w 60"/>
                <a:gd name="T25" fmla="*/ 4 h 96"/>
                <a:gd name="T26" fmla="*/ 38 w 60"/>
                <a:gd name="T27" fmla="*/ 4 h 96"/>
                <a:gd name="T28" fmla="*/ 40 w 60"/>
                <a:gd name="T29" fmla="*/ 6 h 96"/>
                <a:gd name="T30" fmla="*/ 38 w 60"/>
                <a:gd name="T31" fmla="*/ 8 h 96"/>
                <a:gd name="T32" fmla="*/ 22 w 60"/>
                <a:gd name="T33" fmla="*/ 8 h 96"/>
                <a:gd name="T34" fmla="*/ 20 w 60"/>
                <a:gd name="T35" fmla="*/ 6 h 96"/>
                <a:gd name="T36" fmla="*/ 22 w 60"/>
                <a:gd name="T37" fmla="*/ 4 h 96"/>
                <a:gd name="T38" fmla="*/ 23 w 60"/>
                <a:gd name="T39" fmla="*/ 41 h 96"/>
                <a:gd name="T40" fmla="*/ 24 w 60"/>
                <a:gd name="T41" fmla="*/ 39 h 96"/>
                <a:gd name="T42" fmla="*/ 24 w 60"/>
                <a:gd name="T43" fmla="*/ 12 h 96"/>
                <a:gd name="T44" fmla="*/ 36 w 60"/>
                <a:gd name="T45" fmla="*/ 12 h 96"/>
                <a:gd name="T46" fmla="*/ 36 w 60"/>
                <a:gd name="T47" fmla="*/ 39 h 96"/>
                <a:gd name="T48" fmla="*/ 37 w 60"/>
                <a:gd name="T49" fmla="*/ 41 h 96"/>
                <a:gd name="T50" fmla="*/ 56 w 60"/>
                <a:gd name="T51" fmla="*/ 66 h 96"/>
                <a:gd name="T52" fmla="*/ 55 w 60"/>
                <a:gd name="T53" fmla="*/ 72 h 96"/>
                <a:gd name="T54" fmla="*/ 5 w 60"/>
                <a:gd name="T55" fmla="*/ 72 h 96"/>
                <a:gd name="T56" fmla="*/ 4 w 60"/>
                <a:gd name="T57" fmla="*/ 66 h 96"/>
                <a:gd name="T58" fmla="*/ 23 w 60"/>
                <a:gd name="T59" fmla="*/ 41 h 96"/>
                <a:gd name="T60" fmla="*/ 30 w 60"/>
                <a:gd name="T61" fmla="*/ 92 h 96"/>
                <a:gd name="T62" fmla="*/ 6 w 60"/>
                <a:gd name="T63" fmla="*/ 76 h 96"/>
                <a:gd name="T64" fmla="*/ 54 w 60"/>
                <a:gd name="T65" fmla="*/ 76 h 96"/>
                <a:gd name="T66" fmla="*/ 30 w 60"/>
                <a:gd name="T67" fmla="*/ 9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" h="96">
                  <a:moveTo>
                    <a:pt x="40" y="38"/>
                  </a:moveTo>
                  <a:cubicBezTo>
                    <a:pt x="40" y="12"/>
                    <a:pt x="40" y="12"/>
                    <a:pt x="40" y="12"/>
                  </a:cubicBezTo>
                  <a:cubicBezTo>
                    <a:pt x="42" y="11"/>
                    <a:pt x="44" y="9"/>
                    <a:pt x="44" y="6"/>
                  </a:cubicBezTo>
                  <a:cubicBezTo>
                    <a:pt x="44" y="3"/>
                    <a:pt x="41" y="0"/>
                    <a:pt x="38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9" y="0"/>
                    <a:pt x="16" y="3"/>
                    <a:pt x="16" y="6"/>
                  </a:cubicBezTo>
                  <a:cubicBezTo>
                    <a:pt x="16" y="9"/>
                    <a:pt x="18" y="11"/>
                    <a:pt x="20" y="12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8" y="42"/>
                    <a:pt x="0" y="53"/>
                    <a:pt x="0" y="66"/>
                  </a:cubicBezTo>
                  <a:cubicBezTo>
                    <a:pt x="0" y="83"/>
                    <a:pt x="13" y="96"/>
                    <a:pt x="30" y="96"/>
                  </a:cubicBezTo>
                  <a:cubicBezTo>
                    <a:pt x="47" y="96"/>
                    <a:pt x="60" y="83"/>
                    <a:pt x="60" y="66"/>
                  </a:cubicBezTo>
                  <a:cubicBezTo>
                    <a:pt x="60" y="53"/>
                    <a:pt x="52" y="42"/>
                    <a:pt x="40" y="38"/>
                  </a:cubicBezTo>
                  <a:close/>
                  <a:moveTo>
                    <a:pt x="22" y="4"/>
                  </a:moveTo>
                  <a:cubicBezTo>
                    <a:pt x="38" y="4"/>
                    <a:pt x="38" y="4"/>
                    <a:pt x="38" y="4"/>
                  </a:cubicBezTo>
                  <a:cubicBezTo>
                    <a:pt x="39" y="4"/>
                    <a:pt x="40" y="5"/>
                    <a:pt x="40" y="6"/>
                  </a:cubicBezTo>
                  <a:cubicBezTo>
                    <a:pt x="40" y="7"/>
                    <a:pt x="39" y="8"/>
                    <a:pt x="38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0" y="7"/>
                    <a:pt x="20" y="6"/>
                  </a:cubicBezTo>
                  <a:cubicBezTo>
                    <a:pt x="20" y="5"/>
                    <a:pt x="21" y="4"/>
                    <a:pt x="22" y="4"/>
                  </a:cubicBezTo>
                  <a:close/>
                  <a:moveTo>
                    <a:pt x="23" y="41"/>
                  </a:moveTo>
                  <a:cubicBezTo>
                    <a:pt x="23" y="41"/>
                    <a:pt x="24" y="40"/>
                    <a:pt x="24" y="39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40"/>
                    <a:pt x="37" y="41"/>
                    <a:pt x="37" y="41"/>
                  </a:cubicBezTo>
                  <a:cubicBezTo>
                    <a:pt x="48" y="44"/>
                    <a:pt x="56" y="55"/>
                    <a:pt x="56" y="66"/>
                  </a:cubicBezTo>
                  <a:cubicBezTo>
                    <a:pt x="56" y="68"/>
                    <a:pt x="56" y="70"/>
                    <a:pt x="55" y="72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4" y="70"/>
                    <a:pt x="4" y="68"/>
                    <a:pt x="4" y="66"/>
                  </a:cubicBezTo>
                  <a:cubicBezTo>
                    <a:pt x="4" y="55"/>
                    <a:pt x="12" y="44"/>
                    <a:pt x="23" y="41"/>
                  </a:cubicBezTo>
                  <a:close/>
                  <a:moveTo>
                    <a:pt x="30" y="92"/>
                  </a:moveTo>
                  <a:cubicBezTo>
                    <a:pt x="19" y="92"/>
                    <a:pt x="10" y="85"/>
                    <a:pt x="6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0" y="85"/>
                    <a:pt x="41" y="92"/>
                    <a:pt x="30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92" name="Freeform 54">
              <a:extLst>
                <a:ext uri="{FF2B5EF4-FFF2-40B4-BE49-F238E27FC236}">
                  <a16:creationId xmlns:a16="http://schemas.microsoft.com/office/drawing/2014/main" id="{8254F130-6359-4132-8BCF-1F9D9008ADC2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7601" y="-26987"/>
              <a:ext cx="184150" cy="555625"/>
            </a:xfrm>
            <a:custGeom>
              <a:avLst/>
              <a:gdLst>
                <a:gd name="T0" fmla="*/ 26 w 28"/>
                <a:gd name="T1" fmla="*/ 0 h 84"/>
                <a:gd name="T2" fmla="*/ 2 w 28"/>
                <a:gd name="T3" fmla="*/ 0 h 84"/>
                <a:gd name="T4" fmla="*/ 0 w 28"/>
                <a:gd name="T5" fmla="*/ 2 h 84"/>
                <a:gd name="T6" fmla="*/ 0 w 28"/>
                <a:gd name="T7" fmla="*/ 28 h 84"/>
                <a:gd name="T8" fmla="*/ 2 w 28"/>
                <a:gd name="T9" fmla="*/ 30 h 84"/>
                <a:gd name="T10" fmla="*/ 4 w 28"/>
                <a:gd name="T11" fmla="*/ 28 h 84"/>
                <a:gd name="T12" fmla="*/ 4 w 28"/>
                <a:gd name="T13" fmla="*/ 4 h 84"/>
                <a:gd name="T14" fmla="*/ 24 w 28"/>
                <a:gd name="T15" fmla="*/ 4 h 84"/>
                <a:gd name="T16" fmla="*/ 24 w 28"/>
                <a:gd name="T17" fmla="*/ 20 h 84"/>
                <a:gd name="T18" fmla="*/ 14 w 28"/>
                <a:gd name="T19" fmla="*/ 20 h 84"/>
                <a:gd name="T20" fmla="*/ 12 w 28"/>
                <a:gd name="T21" fmla="*/ 22 h 84"/>
                <a:gd name="T22" fmla="*/ 14 w 28"/>
                <a:gd name="T23" fmla="*/ 24 h 84"/>
                <a:gd name="T24" fmla="*/ 24 w 28"/>
                <a:gd name="T25" fmla="*/ 24 h 84"/>
                <a:gd name="T26" fmla="*/ 24 w 28"/>
                <a:gd name="T27" fmla="*/ 32 h 84"/>
                <a:gd name="T28" fmla="*/ 20 w 28"/>
                <a:gd name="T29" fmla="*/ 32 h 84"/>
                <a:gd name="T30" fmla="*/ 18 w 28"/>
                <a:gd name="T31" fmla="*/ 34 h 84"/>
                <a:gd name="T32" fmla="*/ 20 w 28"/>
                <a:gd name="T33" fmla="*/ 36 h 84"/>
                <a:gd name="T34" fmla="*/ 24 w 28"/>
                <a:gd name="T35" fmla="*/ 36 h 84"/>
                <a:gd name="T36" fmla="*/ 24 w 28"/>
                <a:gd name="T37" fmla="*/ 44 h 84"/>
                <a:gd name="T38" fmla="*/ 14 w 28"/>
                <a:gd name="T39" fmla="*/ 44 h 84"/>
                <a:gd name="T40" fmla="*/ 12 w 28"/>
                <a:gd name="T41" fmla="*/ 46 h 84"/>
                <a:gd name="T42" fmla="*/ 14 w 28"/>
                <a:gd name="T43" fmla="*/ 48 h 84"/>
                <a:gd name="T44" fmla="*/ 24 w 28"/>
                <a:gd name="T45" fmla="*/ 48 h 84"/>
                <a:gd name="T46" fmla="*/ 24 w 28"/>
                <a:gd name="T47" fmla="*/ 56 h 84"/>
                <a:gd name="T48" fmla="*/ 20 w 28"/>
                <a:gd name="T49" fmla="*/ 56 h 84"/>
                <a:gd name="T50" fmla="*/ 18 w 28"/>
                <a:gd name="T51" fmla="*/ 58 h 84"/>
                <a:gd name="T52" fmla="*/ 20 w 28"/>
                <a:gd name="T53" fmla="*/ 60 h 84"/>
                <a:gd name="T54" fmla="*/ 24 w 28"/>
                <a:gd name="T55" fmla="*/ 60 h 84"/>
                <a:gd name="T56" fmla="*/ 24 w 28"/>
                <a:gd name="T57" fmla="*/ 70 h 84"/>
                <a:gd name="T58" fmla="*/ 14 w 28"/>
                <a:gd name="T59" fmla="*/ 80 h 84"/>
                <a:gd name="T60" fmla="*/ 5 w 28"/>
                <a:gd name="T61" fmla="*/ 75 h 84"/>
                <a:gd name="T62" fmla="*/ 3 w 28"/>
                <a:gd name="T63" fmla="*/ 74 h 84"/>
                <a:gd name="T64" fmla="*/ 2 w 28"/>
                <a:gd name="T65" fmla="*/ 77 h 84"/>
                <a:gd name="T66" fmla="*/ 14 w 28"/>
                <a:gd name="T67" fmla="*/ 84 h 84"/>
                <a:gd name="T68" fmla="*/ 28 w 28"/>
                <a:gd name="T69" fmla="*/ 70 h 84"/>
                <a:gd name="T70" fmla="*/ 28 w 28"/>
                <a:gd name="T71" fmla="*/ 2 h 84"/>
                <a:gd name="T72" fmla="*/ 26 w 28"/>
                <a:gd name="T7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" h="84">
                  <a:moveTo>
                    <a:pt x="2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3" y="30"/>
                    <a:pt x="4" y="29"/>
                    <a:pt x="4" y="28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2" y="21"/>
                    <a:pt x="12" y="22"/>
                  </a:cubicBezTo>
                  <a:cubicBezTo>
                    <a:pt x="12" y="23"/>
                    <a:pt x="13" y="24"/>
                    <a:pt x="1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19" y="32"/>
                    <a:pt x="18" y="33"/>
                    <a:pt x="18" y="34"/>
                  </a:cubicBezTo>
                  <a:cubicBezTo>
                    <a:pt x="18" y="35"/>
                    <a:pt x="19" y="36"/>
                    <a:pt x="20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3" y="44"/>
                    <a:pt x="12" y="45"/>
                    <a:pt x="12" y="46"/>
                  </a:cubicBezTo>
                  <a:cubicBezTo>
                    <a:pt x="12" y="47"/>
                    <a:pt x="13" y="48"/>
                    <a:pt x="1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9" y="56"/>
                    <a:pt x="18" y="57"/>
                    <a:pt x="18" y="58"/>
                  </a:cubicBezTo>
                  <a:cubicBezTo>
                    <a:pt x="18" y="59"/>
                    <a:pt x="19" y="60"/>
                    <a:pt x="20" y="60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6"/>
                    <a:pt x="20" y="80"/>
                    <a:pt x="14" y="80"/>
                  </a:cubicBezTo>
                  <a:cubicBezTo>
                    <a:pt x="10" y="80"/>
                    <a:pt x="7" y="78"/>
                    <a:pt x="5" y="75"/>
                  </a:cubicBezTo>
                  <a:cubicBezTo>
                    <a:pt x="5" y="74"/>
                    <a:pt x="4" y="74"/>
                    <a:pt x="3" y="74"/>
                  </a:cubicBezTo>
                  <a:cubicBezTo>
                    <a:pt x="2" y="75"/>
                    <a:pt x="1" y="76"/>
                    <a:pt x="2" y="77"/>
                  </a:cubicBezTo>
                  <a:cubicBezTo>
                    <a:pt x="4" y="81"/>
                    <a:pt x="9" y="84"/>
                    <a:pt x="14" y="84"/>
                  </a:cubicBezTo>
                  <a:cubicBezTo>
                    <a:pt x="22" y="84"/>
                    <a:pt x="28" y="78"/>
                    <a:pt x="28" y="70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3D60CBEF-758B-46DA-8EE1-5DA8B669C3B8}"/>
              </a:ext>
            </a:extLst>
          </p:cNvPr>
          <p:cNvGrpSpPr/>
          <p:nvPr/>
        </p:nvGrpSpPr>
        <p:grpSpPr>
          <a:xfrm>
            <a:off x="7230931" y="4806626"/>
            <a:ext cx="393588" cy="431178"/>
            <a:chOff x="8394701" y="-106362"/>
            <a:chExt cx="527050" cy="635000"/>
          </a:xfrm>
          <a:solidFill>
            <a:srgbClr val="2EBEB9"/>
          </a:solidFill>
        </p:grpSpPr>
        <p:sp>
          <p:nvSpPr>
            <p:cNvPr id="94" name="Freeform 53">
              <a:extLst>
                <a:ext uri="{FF2B5EF4-FFF2-40B4-BE49-F238E27FC236}">
                  <a16:creationId xmlns:a16="http://schemas.microsoft.com/office/drawing/2014/main" id="{027E9876-66BB-45A7-B515-4D30C4F60D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94701" y="-106362"/>
              <a:ext cx="395288" cy="635000"/>
            </a:xfrm>
            <a:custGeom>
              <a:avLst/>
              <a:gdLst>
                <a:gd name="T0" fmla="*/ 40 w 60"/>
                <a:gd name="T1" fmla="*/ 38 h 96"/>
                <a:gd name="T2" fmla="*/ 40 w 60"/>
                <a:gd name="T3" fmla="*/ 12 h 96"/>
                <a:gd name="T4" fmla="*/ 44 w 60"/>
                <a:gd name="T5" fmla="*/ 6 h 96"/>
                <a:gd name="T6" fmla="*/ 38 w 60"/>
                <a:gd name="T7" fmla="*/ 0 h 96"/>
                <a:gd name="T8" fmla="*/ 22 w 60"/>
                <a:gd name="T9" fmla="*/ 0 h 96"/>
                <a:gd name="T10" fmla="*/ 16 w 60"/>
                <a:gd name="T11" fmla="*/ 6 h 96"/>
                <a:gd name="T12" fmla="*/ 20 w 60"/>
                <a:gd name="T13" fmla="*/ 12 h 96"/>
                <a:gd name="T14" fmla="*/ 20 w 60"/>
                <a:gd name="T15" fmla="*/ 38 h 96"/>
                <a:gd name="T16" fmla="*/ 0 w 60"/>
                <a:gd name="T17" fmla="*/ 66 h 96"/>
                <a:gd name="T18" fmla="*/ 30 w 60"/>
                <a:gd name="T19" fmla="*/ 96 h 96"/>
                <a:gd name="T20" fmla="*/ 60 w 60"/>
                <a:gd name="T21" fmla="*/ 66 h 96"/>
                <a:gd name="T22" fmla="*/ 40 w 60"/>
                <a:gd name="T23" fmla="*/ 38 h 96"/>
                <a:gd name="T24" fmla="*/ 22 w 60"/>
                <a:gd name="T25" fmla="*/ 4 h 96"/>
                <a:gd name="T26" fmla="*/ 38 w 60"/>
                <a:gd name="T27" fmla="*/ 4 h 96"/>
                <a:gd name="T28" fmla="*/ 40 w 60"/>
                <a:gd name="T29" fmla="*/ 6 h 96"/>
                <a:gd name="T30" fmla="*/ 38 w 60"/>
                <a:gd name="T31" fmla="*/ 8 h 96"/>
                <a:gd name="T32" fmla="*/ 22 w 60"/>
                <a:gd name="T33" fmla="*/ 8 h 96"/>
                <a:gd name="T34" fmla="*/ 20 w 60"/>
                <a:gd name="T35" fmla="*/ 6 h 96"/>
                <a:gd name="T36" fmla="*/ 22 w 60"/>
                <a:gd name="T37" fmla="*/ 4 h 96"/>
                <a:gd name="T38" fmla="*/ 23 w 60"/>
                <a:gd name="T39" fmla="*/ 41 h 96"/>
                <a:gd name="T40" fmla="*/ 24 w 60"/>
                <a:gd name="T41" fmla="*/ 39 h 96"/>
                <a:gd name="T42" fmla="*/ 24 w 60"/>
                <a:gd name="T43" fmla="*/ 12 h 96"/>
                <a:gd name="T44" fmla="*/ 36 w 60"/>
                <a:gd name="T45" fmla="*/ 12 h 96"/>
                <a:gd name="T46" fmla="*/ 36 w 60"/>
                <a:gd name="T47" fmla="*/ 39 h 96"/>
                <a:gd name="T48" fmla="*/ 37 w 60"/>
                <a:gd name="T49" fmla="*/ 41 h 96"/>
                <a:gd name="T50" fmla="*/ 56 w 60"/>
                <a:gd name="T51" fmla="*/ 66 h 96"/>
                <a:gd name="T52" fmla="*/ 55 w 60"/>
                <a:gd name="T53" fmla="*/ 72 h 96"/>
                <a:gd name="T54" fmla="*/ 5 w 60"/>
                <a:gd name="T55" fmla="*/ 72 h 96"/>
                <a:gd name="T56" fmla="*/ 4 w 60"/>
                <a:gd name="T57" fmla="*/ 66 h 96"/>
                <a:gd name="T58" fmla="*/ 23 w 60"/>
                <a:gd name="T59" fmla="*/ 41 h 96"/>
                <a:gd name="T60" fmla="*/ 30 w 60"/>
                <a:gd name="T61" fmla="*/ 92 h 96"/>
                <a:gd name="T62" fmla="*/ 6 w 60"/>
                <a:gd name="T63" fmla="*/ 76 h 96"/>
                <a:gd name="T64" fmla="*/ 54 w 60"/>
                <a:gd name="T65" fmla="*/ 76 h 96"/>
                <a:gd name="T66" fmla="*/ 30 w 60"/>
                <a:gd name="T67" fmla="*/ 9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" h="96">
                  <a:moveTo>
                    <a:pt x="40" y="38"/>
                  </a:moveTo>
                  <a:cubicBezTo>
                    <a:pt x="40" y="12"/>
                    <a:pt x="40" y="12"/>
                    <a:pt x="40" y="12"/>
                  </a:cubicBezTo>
                  <a:cubicBezTo>
                    <a:pt x="42" y="11"/>
                    <a:pt x="44" y="9"/>
                    <a:pt x="44" y="6"/>
                  </a:cubicBezTo>
                  <a:cubicBezTo>
                    <a:pt x="44" y="3"/>
                    <a:pt x="41" y="0"/>
                    <a:pt x="38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9" y="0"/>
                    <a:pt x="16" y="3"/>
                    <a:pt x="16" y="6"/>
                  </a:cubicBezTo>
                  <a:cubicBezTo>
                    <a:pt x="16" y="9"/>
                    <a:pt x="18" y="11"/>
                    <a:pt x="20" y="12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8" y="42"/>
                    <a:pt x="0" y="53"/>
                    <a:pt x="0" y="66"/>
                  </a:cubicBezTo>
                  <a:cubicBezTo>
                    <a:pt x="0" y="83"/>
                    <a:pt x="13" y="96"/>
                    <a:pt x="30" y="96"/>
                  </a:cubicBezTo>
                  <a:cubicBezTo>
                    <a:pt x="47" y="96"/>
                    <a:pt x="60" y="83"/>
                    <a:pt x="60" y="66"/>
                  </a:cubicBezTo>
                  <a:cubicBezTo>
                    <a:pt x="60" y="53"/>
                    <a:pt x="52" y="42"/>
                    <a:pt x="40" y="38"/>
                  </a:cubicBezTo>
                  <a:close/>
                  <a:moveTo>
                    <a:pt x="22" y="4"/>
                  </a:moveTo>
                  <a:cubicBezTo>
                    <a:pt x="38" y="4"/>
                    <a:pt x="38" y="4"/>
                    <a:pt x="38" y="4"/>
                  </a:cubicBezTo>
                  <a:cubicBezTo>
                    <a:pt x="39" y="4"/>
                    <a:pt x="40" y="5"/>
                    <a:pt x="40" y="6"/>
                  </a:cubicBezTo>
                  <a:cubicBezTo>
                    <a:pt x="40" y="7"/>
                    <a:pt x="39" y="8"/>
                    <a:pt x="38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0" y="7"/>
                    <a:pt x="20" y="6"/>
                  </a:cubicBezTo>
                  <a:cubicBezTo>
                    <a:pt x="20" y="5"/>
                    <a:pt x="21" y="4"/>
                    <a:pt x="22" y="4"/>
                  </a:cubicBezTo>
                  <a:close/>
                  <a:moveTo>
                    <a:pt x="23" y="41"/>
                  </a:moveTo>
                  <a:cubicBezTo>
                    <a:pt x="23" y="41"/>
                    <a:pt x="24" y="40"/>
                    <a:pt x="24" y="39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40"/>
                    <a:pt x="37" y="41"/>
                    <a:pt x="37" y="41"/>
                  </a:cubicBezTo>
                  <a:cubicBezTo>
                    <a:pt x="48" y="44"/>
                    <a:pt x="56" y="55"/>
                    <a:pt x="56" y="66"/>
                  </a:cubicBezTo>
                  <a:cubicBezTo>
                    <a:pt x="56" y="68"/>
                    <a:pt x="56" y="70"/>
                    <a:pt x="55" y="72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4" y="70"/>
                    <a:pt x="4" y="68"/>
                    <a:pt x="4" y="66"/>
                  </a:cubicBezTo>
                  <a:cubicBezTo>
                    <a:pt x="4" y="55"/>
                    <a:pt x="12" y="44"/>
                    <a:pt x="23" y="41"/>
                  </a:cubicBezTo>
                  <a:close/>
                  <a:moveTo>
                    <a:pt x="30" y="92"/>
                  </a:moveTo>
                  <a:cubicBezTo>
                    <a:pt x="19" y="92"/>
                    <a:pt x="10" y="85"/>
                    <a:pt x="6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0" y="85"/>
                    <a:pt x="41" y="92"/>
                    <a:pt x="30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95" name="Freeform 54">
              <a:extLst>
                <a:ext uri="{FF2B5EF4-FFF2-40B4-BE49-F238E27FC236}">
                  <a16:creationId xmlns:a16="http://schemas.microsoft.com/office/drawing/2014/main" id="{FD3650D7-F973-4AC4-833E-076869C71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7601" y="-26987"/>
              <a:ext cx="184150" cy="555625"/>
            </a:xfrm>
            <a:custGeom>
              <a:avLst/>
              <a:gdLst>
                <a:gd name="T0" fmla="*/ 26 w 28"/>
                <a:gd name="T1" fmla="*/ 0 h 84"/>
                <a:gd name="T2" fmla="*/ 2 w 28"/>
                <a:gd name="T3" fmla="*/ 0 h 84"/>
                <a:gd name="T4" fmla="*/ 0 w 28"/>
                <a:gd name="T5" fmla="*/ 2 h 84"/>
                <a:gd name="T6" fmla="*/ 0 w 28"/>
                <a:gd name="T7" fmla="*/ 28 h 84"/>
                <a:gd name="T8" fmla="*/ 2 w 28"/>
                <a:gd name="T9" fmla="*/ 30 h 84"/>
                <a:gd name="T10" fmla="*/ 4 w 28"/>
                <a:gd name="T11" fmla="*/ 28 h 84"/>
                <a:gd name="T12" fmla="*/ 4 w 28"/>
                <a:gd name="T13" fmla="*/ 4 h 84"/>
                <a:gd name="T14" fmla="*/ 24 w 28"/>
                <a:gd name="T15" fmla="*/ 4 h 84"/>
                <a:gd name="T16" fmla="*/ 24 w 28"/>
                <a:gd name="T17" fmla="*/ 20 h 84"/>
                <a:gd name="T18" fmla="*/ 14 w 28"/>
                <a:gd name="T19" fmla="*/ 20 h 84"/>
                <a:gd name="T20" fmla="*/ 12 w 28"/>
                <a:gd name="T21" fmla="*/ 22 h 84"/>
                <a:gd name="T22" fmla="*/ 14 w 28"/>
                <a:gd name="T23" fmla="*/ 24 h 84"/>
                <a:gd name="T24" fmla="*/ 24 w 28"/>
                <a:gd name="T25" fmla="*/ 24 h 84"/>
                <a:gd name="T26" fmla="*/ 24 w 28"/>
                <a:gd name="T27" fmla="*/ 32 h 84"/>
                <a:gd name="T28" fmla="*/ 20 w 28"/>
                <a:gd name="T29" fmla="*/ 32 h 84"/>
                <a:gd name="T30" fmla="*/ 18 w 28"/>
                <a:gd name="T31" fmla="*/ 34 h 84"/>
                <a:gd name="T32" fmla="*/ 20 w 28"/>
                <a:gd name="T33" fmla="*/ 36 h 84"/>
                <a:gd name="T34" fmla="*/ 24 w 28"/>
                <a:gd name="T35" fmla="*/ 36 h 84"/>
                <a:gd name="T36" fmla="*/ 24 w 28"/>
                <a:gd name="T37" fmla="*/ 44 h 84"/>
                <a:gd name="T38" fmla="*/ 14 w 28"/>
                <a:gd name="T39" fmla="*/ 44 h 84"/>
                <a:gd name="T40" fmla="*/ 12 w 28"/>
                <a:gd name="T41" fmla="*/ 46 h 84"/>
                <a:gd name="T42" fmla="*/ 14 w 28"/>
                <a:gd name="T43" fmla="*/ 48 h 84"/>
                <a:gd name="T44" fmla="*/ 24 w 28"/>
                <a:gd name="T45" fmla="*/ 48 h 84"/>
                <a:gd name="T46" fmla="*/ 24 w 28"/>
                <a:gd name="T47" fmla="*/ 56 h 84"/>
                <a:gd name="T48" fmla="*/ 20 w 28"/>
                <a:gd name="T49" fmla="*/ 56 h 84"/>
                <a:gd name="T50" fmla="*/ 18 w 28"/>
                <a:gd name="T51" fmla="*/ 58 h 84"/>
                <a:gd name="T52" fmla="*/ 20 w 28"/>
                <a:gd name="T53" fmla="*/ 60 h 84"/>
                <a:gd name="T54" fmla="*/ 24 w 28"/>
                <a:gd name="T55" fmla="*/ 60 h 84"/>
                <a:gd name="T56" fmla="*/ 24 w 28"/>
                <a:gd name="T57" fmla="*/ 70 h 84"/>
                <a:gd name="T58" fmla="*/ 14 w 28"/>
                <a:gd name="T59" fmla="*/ 80 h 84"/>
                <a:gd name="T60" fmla="*/ 5 w 28"/>
                <a:gd name="T61" fmla="*/ 75 h 84"/>
                <a:gd name="T62" fmla="*/ 3 w 28"/>
                <a:gd name="T63" fmla="*/ 74 h 84"/>
                <a:gd name="T64" fmla="*/ 2 w 28"/>
                <a:gd name="T65" fmla="*/ 77 h 84"/>
                <a:gd name="T66" fmla="*/ 14 w 28"/>
                <a:gd name="T67" fmla="*/ 84 h 84"/>
                <a:gd name="T68" fmla="*/ 28 w 28"/>
                <a:gd name="T69" fmla="*/ 70 h 84"/>
                <a:gd name="T70" fmla="*/ 28 w 28"/>
                <a:gd name="T71" fmla="*/ 2 h 84"/>
                <a:gd name="T72" fmla="*/ 26 w 28"/>
                <a:gd name="T7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" h="84">
                  <a:moveTo>
                    <a:pt x="2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3" y="30"/>
                    <a:pt x="4" y="29"/>
                    <a:pt x="4" y="28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2" y="21"/>
                    <a:pt x="12" y="22"/>
                  </a:cubicBezTo>
                  <a:cubicBezTo>
                    <a:pt x="12" y="23"/>
                    <a:pt x="13" y="24"/>
                    <a:pt x="1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19" y="32"/>
                    <a:pt x="18" y="33"/>
                    <a:pt x="18" y="34"/>
                  </a:cubicBezTo>
                  <a:cubicBezTo>
                    <a:pt x="18" y="35"/>
                    <a:pt x="19" y="36"/>
                    <a:pt x="20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3" y="44"/>
                    <a:pt x="12" y="45"/>
                    <a:pt x="12" y="46"/>
                  </a:cubicBezTo>
                  <a:cubicBezTo>
                    <a:pt x="12" y="47"/>
                    <a:pt x="13" y="48"/>
                    <a:pt x="1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9" y="56"/>
                    <a:pt x="18" y="57"/>
                    <a:pt x="18" y="58"/>
                  </a:cubicBezTo>
                  <a:cubicBezTo>
                    <a:pt x="18" y="59"/>
                    <a:pt x="19" y="60"/>
                    <a:pt x="20" y="60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6"/>
                    <a:pt x="20" y="80"/>
                    <a:pt x="14" y="80"/>
                  </a:cubicBezTo>
                  <a:cubicBezTo>
                    <a:pt x="10" y="80"/>
                    <a:pt x="7" y="78"/>
                    <a:pt x="5" y="75"/>
                  </a:cubicBezTo>
                  <a:cubicBezTo>
                    <a:pt x="5" y="74"/>
                    <a:pt x="4" y="74"/>
                    <a:pt x="3" y="74"/>
                  </a:cubicBezTo>
                  <a:cubicBezTo>
                    <a:pt x="2" y="75"/>
                    <a:pt x="1" y="76"/>
                    <a:pt x="2" y="77"/>
                  </a:cubicBezTo>
                  <a:cubicBezTo>
                    <a:pt x="4" y="81"/>
                    <a:pt x="9" y="84"/>
                    <a:pt x="14" y="84"/>
                  </a:cubicBezTo>
                  <a:cubicBezTo>
                    <a:pt x="22" y="84"/>
                    <a:pt x="28" y="78"/>
                    <a:pt x="28" y="70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</p:grpSp>
      <p:grpSp>
        <p:nvGrpSpPr>
          <p:cNvPr id="96" name="Group 28">
            <a:extLst>
              <a:ext uri="{FF2B5EF4-FFF2-40B4-BE49-F238E27FC236}">
                <a16:creationId xmlns:a16="http://schemas.microsoft.com/office/drawing/2014/main" id="{D41F67CF-1F43-4F96-BFF5-B5C21B7FB80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77086" y="2458668"/>
            <a:ext cx="481666" cy="481666"/>
            <a:chOff x="2402" y="439"/>
            <a:chExt cx="426" cy="426"/>
          </a:xfrm>
          <a:solidFill>
            <a:srgbClr val="2EBEB9"/>
          </a:solidFill>
        </p:grpSpPr>
        <p:sp>
          <p:nvSpPr>
            <p:cNvPr id="97" name="Freeform 29">
              <a:extLst>
                <a:ext uri="{FF2B5EF4-FFF2-40B4-BE49-F238E27FC236}">
                  <a16:creationId xmlns:a16="http://schemas.microsoft.com/office/drawing/2014/main" id="{E76E8986-D18E-47A1-8821-2A6F397DD1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2" y="439"/>
              <a:ext cx="426" cy="426"/>
            </a:xfrm>
            <a:custGeom>
              <a:avLst/>
              <a:gdLst>
                <a:gd name="T0" fmla="*/ 126 w 288"/>
                <a:gd name="T1" fmla="*/ 288 h 288"/>
                <a:gd name="T2" fmla="*/ 120 w 288"/>
                <a:gd name="T3" fmla="*/ 247 h 288"/>
                <a:gd name="T4" fmla="*/ 67 w 288"/>
                <a:gd name="T5" fmla="*/ 262 h 288"/>
                <a:gd name="T6" fmla="*/ 25 w 288"/>
                <a:gd name="T7" fmla="*/ 229 h 288"/>
                <a:gd name="T8" fmla="*/ 25 w 288"/>
                <a:gd name="T9" fmla="*/ 220 h 288"/>
                <a:gd name="T10" fmla="*/ 40 w 288"/>
                <a:gd name="T11" fmla="*/ 168 h 288"/>
                <a:gd name="T12" fmla="*/ 0 w 288"/>
                <a:gd name="T13" fmla="*/ 162 h 288"/>
                <a:gd name="T14" fmla="*/ 6 w 288"/>
                <a:gd name="T15" fmla="*/ 120 h 288"/>
                <a:gd name="T16" fmla="*/ 49 w 288"/>
                <a:gd name="T17" fmla="*/ 92 h 288"/>
                <a:gd name="T18" fmla="*/ 23 w 288"/>
                <a:gd name="T19" fmla="*/ 63 h 288"/>
                <a:gd name="T20" fmla="*/ 59 w 288"/>
                <a:gd name="T21" fmla="*/ 25 h 288"/>
                <a:gd name="T22" fmla="*/ 92 w 288"/>
                <a:gd name="T23" fmla="*/ 49 h 288"/>
                <a:gd name="T24" fmla="*/ 120 w 288"/>
                <a:gd name="T25" fmla="*/ 6 h 288"/>
                <a:gd name="T26" fmla="*/ 162 w 288"/>
                <a:gd name="T27" fmla="*/ 0 h 288"/>
                <a:gd name="T28" fmla="*/ 168 w 288"/>
                <a:gd name="T29" fmla="*/ 40 h 288"/>
                <a:gd name="T30" fmla="*/ 220 w 288"/>
                <a:gd name="T31" fmla="*/ 25 h 288"/>
                <a:gd name="T32" fmla="*/ 262 w 288"/>
                <a:gd name="T33" fmla="*/ 59 h 288"/>
                <a:gd name="T34" fmla="*/ 262 w 288"/>
                <a:gd name="T35" fmla="*/ 67 h 288"/>
                <a:gd name="T36" fmla="*/ 247 w 288"/>
                <a:gd name="T37" fmla="*/ 120 h 288"/>
                <a:gd name="T38" fmla="*/ 288 w 288"/>
                <a:gd name="T39" fmla="*/ 126 h 288"/>
                <a:gd name="T40" fmla="*/ 282 w 288"/>
                <a:gd name="T41" fmla="*/ 168 h 288"/>
                <a:gd name="T42" fmla="*/ 238 w 288"/>
                <a:gd name="T43" fmla="*/ 196 h 288"/>
                <a:gd name="T44" fmla="*/ 262 w 288"/>
                <a:gd name="T45" fmla="*/ 229 h 288"/>
                <a:gd name="T46" fmla="*/ 220 w 288"/>
                <a:gd name="T47" fmla="*/ 262 h 288"/>
                <a:gd name="T48" fmla="*/ 168 w 288"/>
                <a:gd name="T49" fmla="*/ 247 h 288"/>
                <a:gd name="T50" fmla="*/ 162 w 288"/>
                <a:gd name="T51" fmla="*/ 288 h 288"/>
                <a:gd name="T52" fmla="*/ 156 w 288"/>
                <a:gd name="T53" fmla="*/ 276 h 288"/>
                <a:gd name="T54" fmla="*/ 160 w 288"/>
                <a:gd name="T55" fmla="*/ 237 h 288"/>
                <a:gd name="T56" fmla="*/ 201 w 288"/>
                <a:gd name="T57" fmla="*/ 226 h 288"/>
                <a:gd name="T58" fmla="*/ 250 w 288"/>
                <a:gd name="T59" fmla="*/ 224 h 288"/>
                <a:gd name="T60" fmla="*/ 226 w 288"/>
                <a:gd name="T61" fmla="*/ 194 h 288"/>
                <a:gd name="T62" fmla="*/ 243 w 288"/>
                <a:gd name="T63" fmla="*/ 156 h 288"/>
                <a:gd name="T64" fmla="*/ 276 w 288"/>
                <a:gd name="T65" fmla="*/ 132 h 288"/>
                <a:gd name="T66" fmla="*/ 237 w 288"/>
                <a:gd name="T67" fmla="*/ 127 h 288"/>
                <a:gd name="T68" fmla="*/ 226 w 288"/>
                <a:gd name="T69" fmla="*/ 86 h 288"/>
                <a:gd name="T70" fmla="*/ 224 w 288"/>
                <a:gd name="T71" fmla="*/ 38 h 288"/>
                <a:gd name="T72" fmla="*/ 194 w 288"/>
                <a:gd name="T73" fmla="*/ 62 h 288"/>
                <a:gd name="T74" fmla="*/ 156 w 288"/>
                <a:gd name="T75" fmla="*/ 45 h 288"/>
                <a:gd name="T76" fmla="*/ 132 w 288"/>
                <a:gd name="T77" fmla="*/ 12 h 288"/>
                <a:gd name="T78" fmla="*/ 127 w 288"/>
                <a:gd name="T79" fmla="*/ 50 h 288"/>
                <a:gd name="T80" fmla="*/ 86 w 288"/>
                <a:gd name="T81" fmla="*/ 61 h 288"/>
                <a:gd name="T82" fmla="*/ 38 w 288"/>
                <a:gd name="T83" fmla="*/ 63 h 288"/>
                <a:gd name="T84" fmla="*/ 62 w 288"/>
                <a:gd name="T85" fmla="*/ 94 h 288"/>
                <a:gd name="T86" fmla="*/ 45 w 288"/>
                <a:gd name="T87" fmla="*/ 132 h 288"/>
                <a:gd name="T88" fmla="*/ 12 w 288"/>
                <a:gd name="T89" fmla="*/ 156 h 288"/>
                <a:gd name="T90" fmla="*/ 50 w 288"/>
                <a:gd name="T91" fmla="*/ 160 h 288"/>
                <a:gd name="T92" fmla="*/ 61 w 288"/>
                <a:gd name="T93" fmla="*/ 201 h 288"/>
                <a:gd name="T94" fmla="*/ 63 w 288"/>
                <a:gd name="T95" fmla="*/ 250 h 288"/>
                <a:gd name="T96" fmla="*/ 94 w 288"/>
                <a:gd name="T97" fmla="*/ 226 h 288"/>
                <a:gd name="T98" fmla="*/ 132 w 288"/>
                <a:gd name="T99" fmla="*/ 243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8" h="288">
                  <a:moveTo>
                    <a:pt x="162" y="288"/>
                  </a:moveTo>
                  <a:cubicBezTo>
                    <a:pt x="126" y="288"/>
                    <a:pt x="126" y="288"/>
                    <a:pt x="126" y="288"/>
                  </a:cubicBezTo>
                  <a:cubicBezTo>
                    <a:pt x="122" y="288"/>
                    <a:pt x="120" y="285"/>
                    <a:pt x="120" y="282"/>
                  </a:cubicBezTo>
                  <a:cubicBezTo>
                    <a:pt x="120" y="247"/>
                    <a:pt x="120" y="247"/>
                    <a:pt x="120" y="247"/>
                  </a:cubicBezTo>
                  <a:cubicBezTo>
                    <a:pt x="110" y="245"/>
                    <a:pt x="100" y="242"/>
                    <a:pt x="92" y="238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5" y="265"/>
                    <a:pt x="61" y="265"/>
                    <a:pt x="59" y="262"/>
                  </a:cubicBezTo>
                  <a:cubicBezTo>
                    <a:pt x="25" y="229"/>
                    <a:pt x="25" y="229"/>
                    <a:pt x="25" y="229"/>
                  </a:cubicBezTo>
                  <a:cubicBezTo>
                    <a:pt x="24" y="227"/>
                    <a:pt x="23" y="226"/>
                    <a:pt x="23" y="224"/>
                  </a:cubicBezTo>
                  <a:cubicBezTo>
                    <a:pt x="23" y="223"/>
                    <a:pt x="24" y="221"/>
                    <a:pt x="25" y="220"/>
                  </a:cubicBezTo>
                  <a:cubicBezTo>
                    <a:pt x="49" y="196"/>
                    <a:pt x="49" y="196"/>
                    <a:pt x="49" y="196"/>
                  </a:cubicBezTo>
                  <a:cubicBezTo>
                    <a:pt x="45" y="188"/>
                    <a:pt x="42" y="177"/>
                    <a:pt x="40" y="168"/>
                  </a:cubicBezTo>
                  <a:cubicBezTo>
                    <a:pt x="6" y="168"/>
                    <a:pt x="6" y="168"/>
                    <a:pt x="6" y="168"/>
                  </a:cubicBezTo>
                  <a:cubicBezTo>
                    <a:pt x="2" y="168"/>
                    <a:pt x="0" y="165"/>
                    <a:pt x="0" y="162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2"/>
                    <a:pt x="2" y="120"/>
                    <a:pt x="6" y="120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42" y="110"/>
                    <a:pt x="45" y="100"/>
                    <a:pt x="49" y="92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4" y="66"/>
                    <a:pt x="23" y="65"/>
                    <a:pt x="23" y="63"/>
                  </a:cubicBezTo>
                  <a:cubicBezTo>
                    <a:pt x="23" y="61"/>
                    <a:pt x="24" y="60"/>
                    <a:pt x="25" y="59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61" y="23"/>
                    <a:pt x="65" y="23"/>
                    <a:pt x="67" y="25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100" y="45"/>
                    <a:pt x="110" y="42"/>
                    <a:pt x="120" y="40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120" y="2"/>
                    <a:pt x="122" y="0"/>
                    <a:pt x="12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2"/>
                    <a:pt x="168" y="6"/>
                  </a:cubicBezTo>
                  <a:cubicBezTo>
                    <a:pt x="168" y="40"/>
                    <a:pt x="168" y="40"/>
                    <a:pt x="168" y="40"/>
                  </a:cubicBezTo>
                  <a:cubicBezTo>
                    <a:pt x="177" y="42"/>
                    <a:pt x="188" y="45"/>
                    <a:pt x="196" y="49"/>
                  </a:cubicBezTo>
                  <a:cubicBezTo>
                    <a:pt x="220" y="25"/>
                    <a:pt x="220" y="25"/>
                    <a:pt x="220" y="25"/>
                  </a:cubicBezTo>
                  <a:cubicBezTo>
                    <a:pt x="222" y="23"/>
                    <a:pt x="226" y="23"/>
                    <a:pt x="228" y="25"/>
                  </a:cubicBezTo>
                  <a:cubicBezTo>
                    <a:pt x="262" y="59"/>
                    <a:pt x="262" y="59"/>
                    <a:pt x="262" y="59"/>
                  </a:cubicBezTo>
                  <a:cubicBezTo>
                    <a:pt x="264" y="60"/>
                    <a:pt x="264" y="61"/>
                    <a:pt x="264" y="63"/>
                  </a:cubicBezTo>
                  <a:cubicBezTo>
                    <a:pt x="264" y="65"/>
                    <a:pt x="264" y="66"/>
                    <a:pt x="262" y="67"/>
                  </a:cubicBezTo>
                  <a:cubicBezTo>
                    <a:pt x="238" y="92"/>
                    <a:pt x="238" y="92"/>
                    <a:pt x="238" y="92"/>
                  </a:cubicBezTo>
                  <a:cubicBezTo>
                    <a:pt x="242" y="100"/>
                    <a:pt x="245" y="110"/>
                    <a:pt x="247" y="120"/>
                  </a:cubicBezTo>
                  <a:cubicBezTo>
                    <a:pt x="282" y="120"/>
                    <a:pt x="282" y="120"/>
                    <a:pt x="282" y="120"/>
                  </a:cubicBezTo>
                  <a:cubicBezTo>
                    <a:pt x="285" y="120"/>
                    <a:pt x="288" y="122"/>
                    <a:pt x="288" y="126"/>
                  </a:cubicBezTo>
                  <a:cubicBezTo>
                    <a:pt x="288" y="162"/>
                    <a:pt x="288" y="162"/>
                    <a:pt x="288" y="162"/>
                  </a:cubicBezTo>
                  <a:cubicBezTo>
                    <a:pt x="288" y="165"/>
                    <a:pt x="285" y="168"/>
                    <a:pt x="282" y="168"/>
                  </a:cubicBezTo>
                  <a:cubicBezTo>
                    <a:pt x="247" y="168"/>
                    <a:pt x="247" y="168"/>
                    <a:pt x="247" y="168"/>
                  </a:cubicBezTo>
                  <a:cubicBezTo>
                    <a:pt x="245" y="177"/>
                    <a:pt x="242" y="188"/>
                    <a:pt x="238" y="196"/>
                  </a:cubicBezTo>
                  <a:cubicBezTo>
                    <a:pt x="262" y="220"/>
                    <a:pt x="262" y="220"/>
                    <a:pt x="262" y="220"/>
                  </a:cubicBezTo>
                  <a:cubicBezTo>
                    <a:pt x="265" y="222"/>
                    <a:pt x="265" y="226"/>
                    <a:pt x="262" y="229"/>
                  </a:cubicBezTo>
                  <a:cubicBezTo>
                    <a:pt x="228" y="262"/>
                    <a:pt x="228" y="262"/>
                    <a:pt x="228" y="262"/>
                  </a:cubicBezTo>
                  <a:cubicBezTo>
                    <a:pt x="226" y="265"/>
                    <a:pt x="222" y="265"/>
                    <a:pt x="220" y="262"/>
                  </a:cubicBezTo>
                  <a:cubicBezTo>
                    <a:pt x="196" y="238"/>
                    <a:pt x="196" y="238"/>
                    <a:pt x="196" y="238"/>
                  </a:cubicBezTo>
                  <a:cubicBezTo>
                    <a:pt x="188" y="242"/>
                    <a:pt x="177" y="245"/>
                    <a:pt x="168" y="247"/>
                  </a:cubicBezTo>
                  <a:cubicBezTo>
                    <a:pt x="168" y="282"/>
                    <a:pt x="168" y="282"/>
                    <a:pt x="168" y="282"/>
                  </a:cubicBezTo>
                  <a:cubicBezTo>
                    <a:pt x="168" y="285"/>
                    <a:pt x="165" y="288"/>
                    <a:pt x="162" y="288"/>
                  </a:cubicBezTo>
                  <a:close/>
                  <a:moveTo>
                    <a:pt x="132" y="276"/>
                  </a:moveTo>
                  <a:cubicBezTo>
                    <a:pt x="156" y="276"/>
                    <a:pt x="156" y="276"/>
                    <a:pt x="156" y="276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6" y="240"/>
                    <a:pt x="158" y="238"/>
                    <a:pt x="160" y="237"/>
                  </a:cubicBezTo>
                  <a:cubicBezTo>
                    <a:pt x="167" y="235"/>
                    <a:pt x="185" y="231"/>
                    <a:pt x="194" y="226"/>
                  </a:cubicBezTo>
                  <a:cubicBezTo>
                    <a:pt x="196" y="224"/>
                    <a:pt x="199" y="224"/>
                    <a:pt x="201" y="226"/>
                  </a:cubicBezTo>
                  <a:cubicBezTo>
                    <a:pt x="224" y="250"/>
                    <a:pt x="224" y="250"/>
                    <a:pt x="224" y="250"/>
                  </a:cubicBezTo>
                  <a:cubicBezTo>
                    <a:pt x="250" y="224"/>
                    <a:pt x="250" y="224"/>
                    <a:pt x="250" y="224"/>
                  </a:cubicBezTo>
                  <a:cubicBezTo>
                    <a:pt x="226" y="201"/>
                    <a:pt x="226" y="201"/>
                    <a:pt x="226" y="201"/>
                  </a:cubicBezTo>
                  <a:cubicBezTo>
                    <a:pt x="224" y="199"/>
                    <a:pt x="224" y="196"/>
                    <a:pt x="226" y="194"/>
                  </a:cubicBezTo>
                  <a:cubicBezTo>
                    <a:pt x="231" y="185"/>
                    <a:pt x="235" y="167"/>
                    <a:pt x="237" y="160"/>
                  </a:cubicBezTo>
                  <a:cubicBezTo>
                    <a:pt x="238" y="158"/>
                    <a:pt x="240" y="156"/>
                    <a:pt x="243" y="156"/>
                  </a:cubicBezTo>
                  <a:cubicBezTo>
                    <a:pt x="276" y="156"/>
                    <a:pt x="276" y="156"/>
                    <a:pt x="276" y="156"/>
                  </a:cubicBezTo>
                  <a:cubicBezTo>
                    <a:pt x="276" y="132"/>
                    <a:pt x="276" y="132"/>
                    <a:pt x="276" y="132"/>
                  </a:cubicBezTo>
                  <a:cubicBezTo>
                    <a:pt x="243" y="132"/>
                    <a:pt x="243" y="132"/>
                    <a:pt x="243" y="132"/>
                  </a:cubicBezTo>
                  <a:cubicBezTo>
                    <a:pt x="240" y="132"/>
                    <a:pt x="237" y="130"/>
                    <a:pt x="237" y="127"/>
                  </a:cubicBezTo>
                  <a:cubicBezTo>
                    <a:pt x="235" y="120"/>
                    <a:pt x="231" y="103"/>
                    <a:pt x="226" y="94"/>
                  </a:cubicBezTo>
                  <a:cubicBezTo>
                    <a:pt x="224" y="91"/>
                    <a:pt x="224" y="88"/>
                    <a:pt x="226" y="86"/>
                  </a:cubicBezTo>
                  <a:cubicBezTo>
                    <a:pt x="250" y="63"/>
                    <a:pt x="250" y="63"/>
                    <a:pt x="250" y="63"/>
                  </a:cubicBezTo>
                  <a:cubicBezTo>
                    <a:pt x="224" y="38"/>
                    <a:pt x="224" y="38"/>
                    <a:pt x="224" y="38"/>
                  </a:cubicBezTo>
                  <a:cubicBezTo>
                    <a:pt x="201" y="61"/>
                    <a:pt x="201" y="61"/>
                    <a:pt x="201" y="61"/>
                  </a:cubicBezTo>
                  <a:cubicBezTo>
                    <a:pt x="199" y="63"/>
                    <a:pt x="196" y="63"/>
                    <a:pt x="194" y="62"/>
                  </a:cubicBezTo>
                  <a:cubicBezTo>
                    <a:pt x="185" y="56"/>
                    <a:pt x="167" y="52"/>
                    <a:pt x="160" y="50"/>
                  </a:cubicBezTo>
                  <a:cubicBezTo>
                    <a:pt x="158" y="50"/>
                    <a:pt x="156" y="47"/>
                    <a:pt x="156" y="45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32" y="47"/>
                    <a:pt x="130" y="50"/>
                    <a:pt x="127" y="50"/>
                  </a:cubicBezTo>
                  <a:cubicBezTo>
                    <a:pt x="120" y="52"/>
                    <a:pt x="103" y="56"/>
                    <a:pt x="94" y="62"/>
                  </a:cubicBezTo>
                  <a:cubicBezTo>
                    <a:pt x="91" y="63"/>
                    <a:pt x="88" y="63"/>
                    <a:pt x="86" y="61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3" y="88"/>
                    <a:pt x="63" y="91"/>
                    <a:pt x="62" y="94"/>
                  </a:cubicBezTo>
                  <a:cubicBezTo>
                    <a:pt x="56" y="103"/>
                    <a:pt x="52" y="120"/>
                    <a:pt x="50" y="127"/>
                  </a:cubicBezTo>
                  <a:cubicBezTo>
                    <a:pt x="50" y="130"/>
                    <a:pt x="47" y="132"/>
                    <a:pt x="45" y="13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56"/>
                    <a:pt x="12" y="156"/>
                    <a:pt x="12" y="156"/>
                  </a:cubicBezTo>
                  <a:cubicBezTo>
                    <a:pt x="45" y="156"/>
                    <a:pt x="45" y="156"/>
                    <a:pt x="45" y="156"/>
                  </a:cubicBezTo>
                  <a:cubicBezTo>
                    <a:pt x="47" y="156"/>
                    <a:pt x="50" y="158"/>
                    <a:pt x="50" y="160"/>
                  </a:cubicBezTo>
                  <a:cubicBezTo>
                    <a:pt x="52" y="167"/>
                    <a:pt x="56" y="185"/>
                    <a:pt x="62" y="194"/>
                  </a:cubicBezTo>
                  <a:cubicBezTo>
                    <a:pt x="63" y="196"/>
                    <a:pt x="63" y="199"/>
                    <a:pt x="61" y="201"/>
                  </a:cubicBezTo>
                  <a:cubicBezTo>
                    <a:pt x="38" y="224"/>
                    <a:pt x="38" y="224"/>
                    <a:pt x="38" y="224"/>
                  </a:cubicBezTo>
                  <a:cubicBezTo>
                    <a:pt x="63" y="250"/>
                    <a:pt x="63" y="250"/>
                    <a:pt x="63" y="250"/>
                  </a:cubicBezTo>
                  <a:cubicBezTo>
                    <a:pt x="86" y="226"/>
                    <a:pt x="86" y="226"/>
                    <a:pt x="86" y="226"/>
                  </a:cubicBezTo>
                  <a:cubicBezTo>
                    <a:pt x="88" y="224"/>
                    <a:pt x="91" y="224"/>
                    <a:pt x="94" y="226"/>
                  </a:cubicBezTo>
                  <a:cubicBezTo>
                    <a:pt x="103" y="231"/>
                    <a:pt x="120" y="235"/>
                    <a:pt x="127" y="237"/>
                  </a:cubicBezTo>
                  <a:cubicBezTo>
                    <a:pt x="130" y="238"/>
                    <a:pt x="132" y="240"/>
                    <a:pt x="132" y="243"/>
                  </a:cubicBezTo>
                  <a:lnTo>
                    <a:pt x="132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98" name="Freeform 30">
              <a:extLst>
                <a:ext uri="{FF2B5EF4-FFF2-40B4-BE49-F238E27FC236}">
                  <a16:creationId xmlns:a16="http://schemas.microsoft.com/office/drawing/2014/main" id="{89A02CD4-6DA1-4940-BC42-49A52E6C79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563"/>
              <a:ext cx="178" cy="178"/>
            </a:xfrm>
            <a:custGeom>
              <a:avLst/>
              <a:gdLst>
                <a:gd name="T0" fmla="*/ 60 w 120"/>
                <a:gd name="T1" fmla="*/ 120 h 120"/>
                <a:gd name="T2" fmla="*/ 0 w 120"/>
                <a:gd name="T3" fmla="*/ 60 h 120"/>
                <a:gd name="T4" fmla="*/ 60 w 120"/>
                <a:gd name="T5" fmla="*/ 0 h 120"/>
                <a:gd name="T6" fmla="*/ 120 w 120"/>
                <a:gd name="T7" fmla="*/ 60 h 120"/>
                <a:gd name="T8" fmla="*/ 60 w 120"/>
                <a:gd name="T9" fmla="*/ 120 h 120"/>
                <a:gd name="T10" fmla="*/ 60 w 120"/>
                <a:gd name="T11" fmla="*/ 12 h 120"/>
                <a:gd name="T12" fmla="*/ 12 w 120"/>
                <a:gd name="T13" fmla="*/ 60 h 120"/>
                <a:gd name="T14" fmla="*/ 60 w 120"/>
                <a:gd name="T15" fmla="*/ 108 h 120"/>
                <a:gd name="T16" fmla="*/ 108 w 120"/>
                <a:gd name="T17" fmla="*/ 60 h 120"/>
                <a:gd name="T18" fmla="*/ 60 w 120"/>
                <a:gd name="T19" fmla="*/ 1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120">
                  <a:moveTo>
                    <a:pt x="60" y="120"/>
                  </a:moveTo>
                  <a:cubicBezTo>
                    <a:pt x="27" y="120"/>
                    <a:pt x="0" y="93"/>
                    <a:pt x="0" y="60"/>
                  </a:cubicBezTo>
                  <a:cubicBezTo>
                    <a:pt x="0" y="27"/>
                    <a:pt x="27" y="0"/>
                    <a:pt x="60" y="0"/>
                  </a:cubicBezTo>
                  <a:cubicBezTo>
                    <a:pt x="93" y="0"/>
                    <a:pt x="120" y="27"/>
                    <a:pt x="120" y="60"/>
                  </a:cubicBezTo>
                  <a:cubicBezTo>
                    <a:pt x="120" y="93"/>
                    <a:pt x="93" y="120"/>
                    <a:pt x="60" y="120"/>
                  </a:cubicBezTo>
                  <a:close/>
                  <a:moveTo>
                    <a:pt x="60" y="12"/>
                  </a:moveTo>
                  <a:cubicBezTo>
                    <a:pt x="33" y="12"/>
                    <a:pt x="12" y="33"/>
                    <a:pt x="12" y="60"/>
                  </a:cubicBezTo>
                  <a:cubicBezTo>
                    <a:pt x="12" y="86"/>
                    <a:pt x="33" y="108"/>
                    <a:pt x="60" y="108"/>
                  </a:cubicBezTo>
                  <a:cubicBezTo>
                    <a:pt x="86" y="108"/>
                    <a:pt x="108" y="86"/>
                    <a:pt x="108" y="60"/>
                  </a:cubicBezTo>
                  <a:cubicBezTo>
                    <a:pt x="108" y="33"/>
                    <a:pt x="86" y="12"/>
                    <a:pt x="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99" name="Arrow: Right 98">
            <a:extLst>
              <a:ext uri="{FF2B5EF4-FFF2-40B4-BE49-F238E27FC236}">
                <a16:creationId xmlns:a16="http://schemas.microsoft.com/office/drawing/2014/main" id="{D2F91F92-16D8-49CA-B96A-AA188052A34D}"/>
              </a:ext>
            </a:extLst>
          </p:cNvPr>
          <p:cNvSpPr/>
          <p:nvPr/>
        </p:nvSpPr>
        <p:spPr>
          <a:xfrm>
            <a:off x="3559550" y="3415731"/>
            <a:ext cx="687763" cy="433917"/>
          </a:xfrm>
          <a:prstGeom prst="rightArrow">
            <a:avLst/>
          </a:prstGeom>
          <a:solidFill>
            <a:srgbClr val="2EBEB9"/>
          </a:solidFill>
          <a:ln w="28575">
            <a:solidFill>
              <a:srgbClr val="2EB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0" name="Arrow: Right 99">
            <a:extLst>
              <a:ext uri="{FF2B5EF4-FFF2-40B4-BE49-F238E27FC236}">
                <a16:creationId xmlns:a16="http://schemas.microsoft.com/office/drawing/2014/main" id="{45CA60B0-E6FF-4BFE-AEF8-F463371B07CD}"/>
              </a:ext>
            </a:extLst>
          </p:cNvPr>
          <p:cNvSpPr/>
          <p:nvPr/>
        </p:nvSpPr>
        <p:spPr>
          <a:xfrm>
            <a:off x="6529451" y="3426211"/>
            <a:ext cx="637026" cy="412955"/>
          </a:xfrm>
          <a:prstGeom prst="rightArrow">
            <a:avLst/>
          </a:prstGeom>
          <a:solidFill>
            <a:srgbClr val="2EBEB9"/>
          </a:solidFill>
          <a:ln w="28575">
            <a:solidFill>
              <a:srgbClr val="2EB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518613C7-55E5-4D25-BE43-7404BEB7AD81}"/>
              </a:ext>
            </a:extLst>
          </p:cNvPr>
          <p:cNvSpPr/>
          <p:nvPr/>
        </p:nvSpPr>
        <p:spPr>
          <a:xfrm>
            <a:off x="7070385" y="2984369"/>
            <a:ext cx="2878146" cy="1269411"/>
          </a:xfrm>
          <a:custGeom>
            <a:avLst/>
            <a:gdLst>
              <a:gd name="connsiteX0" fmla="*/ 0 w 2878146"/>
              <a:gd name="connsiteY0" fmla="*/ 0 h 1269411"/>
              <a:gd name="connsiteX1" fmla="*/ 2878146 w 2878146"/>
              <a:gd name="connsiteY1" fmla="*/ 0 h 1269411"/>
              <a:gd name="connsiteX2" fmla="*/ 2878146 w 2878146"/>
              <a:gd name="connsiteY2" fmla="*/ 1269411 h 1269411"/>
              <a:gd name="connsiteX3" fmla="*/ 0 w 2878146"/>
              <a:gd name="connsiteY3" fmla="*/ 1269411 h 1269411"/>
              <a:gd name="connsiteX4" fmla="*/ 0 w 2878146"/>
              <a:gd name="connsiteY4" fmla="*/ 0 h 1269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78146" h="1269411" extrusionOk="0">
                <a:moveTo>
                  <a:pt x="0" y="0"/>
                </a:moveTo>
                <a:cubicBezTo>
                  <a:pt x="517602" y="-148223"/>
                  <a:pt x="2429604" y="-75546"/>
                  <a:pt x="2878146" y="0"/>
                </a:cubicBezTo>
                <a:cubicBezTo>
                  <a:pt x="2955972" y="548125"/>
                  <a:pt x="2901081" y="1063767"/>
                  <a:pt x="2878146" y="1269411"/>
                </a:cubicBezTo>
                <a:cubicBezTo>
                  <a:pt x="1542334" y="1204447"/>
                  <a:pt x="400046" y="1420878"/>
                  <a:pt x="0" y="1269411"/>
                </a:cubicBezTo>
                <a:cubicBezTo>
                  <a:pt x="89401" y="915250"/>
                  <a:pt x="90029" y="303261"/>
                  <a:pt x="0" y="0"/>
                </a:cubicBezTo>
                <a:close/>
              </a:path>
            </a:pathLst>
          </a:custGeom>
          <a:noFill/>
          <a:ln w="57150">
            <a:solidFill>
              <a:srgbClr val="2EBEB9"/>
            </a:solidFill>
            <a:extLst>
              <a:ext uri="{C807C97D-BFC1-408E-A445-0C87EB9F89A2}">
                <ask:lineSketchStyleProps xmlns:ask="http://schemas.microsoft.com/office/drawing/2018/sketchyshapes" sd="193478817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162B0B5A-5408-413B-A379-544A74989B34}"/>
              </a:ext>
            </a:extLst>
          </p:cNvPr>
          <p:cNvCxnSpPr>
            <a:cxnSpLocks/>
          </p:cNvCxnSpPr>
          <p:nvPr/>
        </p:nvCxnSpPr>
        <p:spPr>
          <a:xfrm>
            <a:off x="7387467" y="2280523"/>
            <a:ext cx="0" cy="659811"/>
          </a:xfrm>
          <a:prstGeom prst="straightConnector1">
            <a:avLst/>
          </a:prstGeom>
          <a:ln w="25400">
            <a:solidFill>
              <a:srgbClr val="2EBEB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CBE89621-A238-45E3-B92C-58DEE6BDF533}"/>
              </a:ext>
            </a:extLst>
          </p:cNvPr>
          <p:cNvCxnSpPr>
            <a:cxnSpLocks/>
          </p:cNvCxnSpPr>
          <p:nvPr/>
        </p:nvCxnSpPr>
        <p:spPr>
          <a:xfrm>
            <a:off x="8025116" y="3961491"/>
            <a:ext cx="393583" cy="0"/>
          </a:xfrm>
          <a:prstGeom prst="straightConnector1">
            <a:avLst/>
          </a:prstGeom>
          <a:ln w="25400">
            <a:solidFill>
              <a:srgbClr val="2EBEB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C02D4B5B-2826-4903-AE05-A38538F04BF4}"/>
              </a:ext>
            </a:extLst>
          </p:cNvPr>
          <p:cNvCxnSpPr>
            <a:cxnSpLocks/>
          </p:cNvCxnSpPr>
          <p:nvPr/>
        </p:nvCxnSpPr>
        <p:spPr>
          <a:xfrm>
            <a:off x="7359208" y="4300768"/>
            <a:ext cx="0" cy="353634"/>
          </a:xfrm>
          <a:prstGeom prst="straightConnector1">
            <a:avLst/>
          </a:prstGeom>
          <a:ln w="25400">
            <a:solidFill>
              <a:srgbClr val="2EBEB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FC63A1B2-505C-4971-B749-BA128C4AE38F}"/>
              </a:ext>
            </a:extLst>
          </p:cNvPr>
          <p:cNvSpPr txBox="1"/>
          <p:nvPr/>
        </p:nvSpPr>
        <p:spPr>
          <a:xfrm>
            <a:off x="10382370" y="4174533"/>
            <a:ext cx="18131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>
                <a:highlight>
                  <a:srgbClr val="FFFF00"/>
                </a:highlight>
              </a:rPr>
              <a:t>Expected Hackathon outcome</a:t>
            </a:r>
          </a:p>
        </p:txBody>
      </p:sp>
      <p:cxnSp>
        <p:nvCxnSpPr>
          <p:cNvPr id="16" name="Connector: Curved 15">
            <a:extLst>
              <a:ext uri="{FF2B5EF4-FFF2-40B4-BE49-F238E27FC236}">
                <a16:creationId xmlns:a16="http://schemas.microsoft.com/office/drawing/2014/main" id="{B8D6B781-9630-411C-B0AC-8FB337FB0154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379247" y="4098175"/>
            <a:ext cx="267007" cy="1284968"/>
          </a:xfrm>
          <a:prstGeom prst="curvedConnector2">
            <a:avLst/>
          </a:prstGeom>
          <a:ln w="38100">
            <a:solidFill>
              <a:srgbClr val="00AE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A86C1933-3E8E-4086-9594-ACCB50ECA373}"/>
              </a:ext>
            </a:extLst>
          </p:cNvPr>
          <p:cNvSpPr txBox="1"/>
          <p:nvPr/>
        </p:nvSpPr>
        <p:spPr>
          <a:xfrm>
            <a:off x="602169" y="6380076"/>
            <a:ext cx="2944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&amp; BEEODIVERSITY</a:t>
            </a:r>
          </a:p>
        </p:txBody>
      </p:sp>
    </p:spTree>
    <p:extLst>
      <p:ext uri="{BB962C8B-B14F-4D97-AF65-F5344CB8AC3E}">
        <p14:creationId xmlns:p14="http://schemas.microsoft.com/office/powerpoint/2010/main" val="39447678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B4C290F7-F6F6-48DD-8BC2-8BC9189BF55C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6" name="Graphic 4">
            <a:extLst>
              <a:ext uri="{FF2B5EF4-FFF2-40B4-BE49-F238E27FC236}">
                <a16:creationId xmlns:a16="http://schemas.microsoft.com/office/drawing/2014/main" id="{D12ACFF1-EDDC-4770-963D-F678BD4FD5FE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A801D87-091F-414B-9B33-0D96B36AD93A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Copyright © 2021 Accenture.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All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ights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 </a:t>
            </a:r>
            <a:r>
              <a:rPr lang="nl-BE" sz="800" err="1">
                <a:solidFill>
                  <a:schemeClr val="bg1">
                    <a:alpha val="75000"/>
                  </a:schemeClr>
                </a:solidFill>
              </a:rPr>
              <a:t>reserved</a:t>
            </a:r>
            <a:r>
              <a:rPr lang="nl-BE" sz="800">
                <a:solidFill>
                  <a:schemeClr val="bg1">
                    <a:alpha val="75000"/>
                  </a:schemeClr>
                </a:solidFill>
              </a:rPr>
              <a:t>.</a:t>
            </a:r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0C977D9-FD3B-4329-A701-533FD6A25EE8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nl-BE" sz="800" smtClean="0">
                <a:solidFill>
                  <a:schemeClr val="bg1">
                    <a:alpha val="75000"/>
                  </a:schemeClr>
                </a:solidFill>
              </a:rPr>
              <a:t>9</a:t>
            </a:fld>
            <a:endParaRPr lang="nl-BE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C9DF6C-78C6-43F0-9B7F-87B36C1B5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76003"/>
            <a:ext cx="11430000" cy="990600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Teaming &amp; Organization</a:t>
            </a:r>
            <a:br>
              <a:rPr lang="en-US" dirty="0"/>
            </a:br>
            <a:r>
              <a:rPr lang="en-US" dirty="0"/>
              <a:t>Teaming Setup – Four mixed teams for this week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1F99101-A1FB-4670-9C7B-34867AB858ED}"/>
              </a:ext>
            </a:extLst>
          </p:cNvPr>
          <p:cNvSpPr txBox="1"/>
          <p:nvPr/>
        </p:nvSpPr>
        <p:spPr>
          <a:xfrm>
            <a:off x="602169" y="6380076"/>
            <a:ext cx="2944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&amp; BEEODIVERSIT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982445-80BD-41F0-B9BE-011EF3FEC142}"/>
              </a:ext>
            </a:extLst>
          </p:cNvPr>
          <p:cNvSpPr/>
          <p:nvPr/>
        </p:nvSpPr>
        <p:spPr>
          <a:xfrm>
            <a:off x="997448" y="1950046"/>
            <a:ext cx="2025826" cy="5254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am 1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2266F8F-8DE5-483F-AA25-88BDF2054E5B}"/>
              </a:ext>
            </a:extLst>
          </p:cNvPr>
          <p:cNvSpPr/>
          <p:nvPr/>
        </p:nvSpPr>
        <p:spPr>
          <a:xfrm>
            <a:off x="3546724" y="1950046"/>
            <a:ext cx="2025826" cy="5254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am 2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D7015639-C153-4C5D-AB26-ADC7FEDE752E}"/>
              </a:ext>
            </a:extLst>
          </p:cNvPr>
          <p:cNvSpPr/>
          <p:nvPr/>
        </p:nvSpPr>
        <p:spPr>
          <a:xfrm>
            <a:off x="6096000" y="1950046"/>
            <a:ext cx="2025826" cy="5254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am 3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98A2F6A8-6E46-4971-A4C6-FBB5C9C6D9EE}"/>
              </a:ext>
            </a:extLst>
          </p:cNvPr>
          <p:cNvSpPr/>
          <p:nvPr/>
        </p:nvSpPr>
        <p:spPr>
          <a:xfrm>
            <a:off x="8645276" y="1950046"/>
            <a:ext cx="2025826" cy="5254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am 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6D08BF4-F7A5-4A22-A02E-C293E76B0693}"/>
              </a:ext>
            </a:extLst>
          </p:cNvPr>
          <p:cNvSpPr txBox="1"/>
          <p:nvPr/>
        </p:nvSpPr>
        <p:spPr>
          <a:xfrm>
            <a:off x="868933" y="2543624"/>
            <a:ext cx="21975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Ousmane Diop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laire </a:t>
            </a:r>
            <a:r>
              <a:rPr lang="en-US" sz="1200" dirty="0" err="1"/>
              <a:t>Perfetti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Prasamsha</a:t>
            </a:r>
            <a:r>
              <a:rPr lang="en-US" sz="1200" dirty="0"/>
              <a:t> Sharm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450DB8A9-39FB-4026-BF2F-8BBF69B6C7AE}"/>
              </a:ext>
            </a:extLst>
          </p:cNvPr>
          <p:cNvSpPr txBox="1"/>
          <p:nvPr/>
        </p:nvSpPr>
        <p:spPr>
          <a:xfrm>
            <a:off x="3513578" y="2543624"/>
            <a:ext cx="21975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Imad Haj Rash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Jérôme </a:t>
            </a:r>
            <a:r>
              <a:rPr lang="en-US" sz="1200" dirty="0" err="1"/>
              <a:t>Coumont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Andreas </a:t>
            </a:r>
            <a:r>
              <a:rPr lang="en-US" sz="1200" dirty="0" err="1"/>
              <a:t>Margraff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Pierre Wasilewsk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94FC569E-DBC2-4662-B723-45015F12E216}"/>
              </a:ext>
            </a:extLst>
          </p:cNvPr>
          <p:cNvSpPr txBox="1"/>
          <p:nvPr/>
        </p:nvSpPr>
        <p:spPr>
          <a:xfrm>
            <a:off x="6093432" y="2543624"/>
            <a:ext cx="21975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Guillaume </a:t>
            </a:r>
            <a:r>
              <a:rPr lang="en-US" sz="1200" dirty="0" err="1"/>
              <a:t>Gémis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Ebubekir</a:t>
            </a:r>
            <a:r>
              <a:rPr lang="en-US" sz="1200" dirty="0"/>
              <a:t> </a:t>
            </a:r>
            <a:r>
              <a:rPr lang="en-US" sz="1200" dirty="0" err="1"/>
              <a:t>Kocadag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Guillaume </a:t>
            </a:r>
            <a:r>
              <a:rPr lang="en-US" sz="1200" dirty="0" err="1"/>
              <a:t>Leurquin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Lise Am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69D0AEC9-06C6-44C9-85CA-FF3429DBA06B}"/>
              </a:ext>
            </a:extLst>
          </p:cNvPr>
          <p:cNvSpPr txBox="1"/>
          <p:nvPr/>
        </p:nvSpPr>
        <p:spPr>
          <a:xfrm>
            <a:off x="8609295" y="2543624"/>
            <a:ext cx="21975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Thomas De </a:t>
            </a:r>
            <a:r>
              <a:rPr lang="en-US" sz="1200" dirty="0" err="1"/>
              <a:t>Cleen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Jonathan </a:t>
            </a:r>
            <a:r>
              <a:rPr lang="en-US" sz="1200" dirty="0" err="1"/>
              <a:t>Decleire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Mathieu Le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Morgane</a:t>
            </a:r>
            <a:r>
              <a:rPr lang="en-US" sz="1200" dirty="0"/>
              <a:t> </a:t>
            </a:r>
            <a:r>
              <a:rPr lang="en-US" sz="1200" dirty="0" err="1"/>
              <a:t>Demesmaeker</a:t>
            </a:r>
            <a:endParaRPr lang="en-US" sz="1200" dirty="0"/>
          </a:p>
          <a:p>
            <a:endParaRPr lang="en-US" sz="1200" dirty="0"/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20EBDAF2-E2B3-4EEE-A2C6-E48BD73A2964}"/>
              </a:ext>
            </a:extLst>
          </p:cNvPr>
          <p:cNvSpPr/>
          <p:nvPr/>
        </p:nvSpPr>
        <p:spPr>
          <a:xfrm>
            <a:off x="997448" y="4622390"/>
            <a:ext cx="9673654" cy="5053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aches 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BBA48754-E4CE-4209-A39F-B8EBAA256618}"/>
              </a:ext>
            </a:extLst>
          </p:cNvPr>
          <p:cNvSpPr txBox="1"/>
          <p:nvPr/>
        </p:nvSpPr>
        <p:spPr>
          <a:xfrm>
            <a:off x="868933" y="5179747"/>
            <a:ext cx="497615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hlinkClick r:id="rId3"/>
              </a:rPr>
              <a:t>sven.hanoteaux@beeodiversity.com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hlinkClick r:id="rId4"/>
              </a:rPr>
              <a:t>kim.nguyen@beeodiversity.com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hlinkClick r:id="rId5"/>
              </a:rPr>
              <a:t>adeline.decuyper@accenture.com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D5989D75-2691-46BC-B70A-DC761D435D65}"/>
              </a:ext>
            </a:extLst>
          </p:cNvPr>
          <p:cNvSpPr txBox="1"/>
          <p:nvPr/>
        </p:nvSpPr>
        <p:spPr>
          <a:xfrm>
            <a:off x="7702734" y="3804611"/>
            <a:ext cx="18706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>
                <a:highlight>
                  <a:srgbClr val="FFFF00"/>
                </a:highlight>
              </a:rPr>
              <a:t>We are ok with the teams ?</a:t>
            </a:r>
          </a:p>
        </p:txBody>
      </p:sp>
      <p:cxnSp>
        <p:nvCxnSpPr>
          <p:cNvPr id="114" name="Connector: Curved 113">
            <a:extLst>
              <a:ext uri="{FF2B5EF4-FFF2-40B4-BE49-F238E27FC236}">
                <a16:creationId xmlns:a16="http://schemas.microsoft.com/office/drawing/2014/main" id="{67F17F12-6CFA-4923-8C31-CD23AF49C64B}"/>
              </a:ext>
            </a:extLst>
          </p:cNvPr>
          <p:cNvCxnSpPr>
            <a:cxnSpLocks/>
          </p:cNvCxnSpPr>
          <p:nvPr/>
        </p:nvCxnSpPr>
        <p:spPr>
          <a:xfrm>
            <a:off x="4559637" y="3924867"/>
            <a:ext cx="2957640" cy="249666"/>
          </a:xfrm>
          <a:prstGeom prst="curvedConnector3">
            <a:avLst>
              <a:gd name="adj1" fmla="val 42655"/>
            </a:avLst>
          </a:prstGeom>
          <a:ln w="38100">
            <a:solidFill>
              <a:srgbClr val="00AE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8899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tgQvSO.ffDwwR1owmy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AkMegizSxPbWW6ToAJ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H9NhPCUluOyfF8zI7gNA"/>
</p:tagLst>
</file>

<file path=ppt/theme/theme1.xml><?xml version="1.0" encoding="utf-8"?>
<a:theme xmlns:a="http://schemas.openxmlformats.org/drawingml/2006/main" name="Titles">
  <a:themeElements>
    <a:clrScheme name="Accenture MasterBrand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7E00FF"/>
      </a:accent1>
      <a:accent2>
        <a:srgbClr val="FF0000"/>
      </a:accent2>
      <a:accent3>
        <a:srgbClr val="2800FF"/>
      </a:accent3>
      <a:accent4>
        <a:srgbClr val="00BAFF"/>
      </a:accent4>
      <a:accent5>
        <a:srgbClr val="00FF7D"/>
      </a:accent5>
      <a:accent6>
        <a:srgbClr val="FFEA00"/>
      </a:accent6>
      <a:hlink>
        <a:srgbClr val="2800FF"/>
      </a:hlink>
      <a:folHlink>
        <a:srgbClr val="7E00FF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2" id="{1E38D599-50EE-4A36-8E46-59A108016C04}" vid="{2AABC2FC-491B-4B1D-AA79-A69AF944AAA0}"/>
    </a:ext>
  </a:extLst>
</a:theme>
</file>

<file path=ppt/theme/theme2.xml><?xml version="1.0" encoding="utf-8"?>
<a:theme xmlns:a="http://schemas.openxmlformats.org/drawingml/2006/main" name="Content Layouts">
  <a:themeElements>
    <a:clrScheme name="Accenture MasterBrand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7E00FF"/>
      </a:accent1>
      <a:accent2>
        <a:srgbClr val="FF0000"/>
      </a:accent2>
      <a:accent3>
        <a:srgbClr val="2800FF"/>
      </a:accent3>
      <a:accent4>
        <a:srgbClr val="00BAFF"/>
      </a:accent4>
      <a:accent5>
        <a:srgbClr val="00FF7D"/>
      </a:accent5>
      <a:accent6>
        <a:srgbClr val="FFEA00"/>
      </a:accent6>
      <a:hlink>
        <a:srgbClr val="2800FF"/>
      </a:hlink>
      <a:folHlink>
        <a:srgbClr val="7E00FF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Technology_Template_Graphik_v2" id="{89805292-0732-4A46-A361-B7A6606A13A2}" vid="{21E809DD-C6ED-4282-AEB0-21D1F7555B8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DC1A2"/>
      </a:accent1>
      <a:accent2>
        <a:srgbClr val="5CA284"/>
      </a:accent2>
      <a:accent3>
        <a:srgbClr val="53A76D"/>
      </a:accent3>
      <a:accent4>
        <a:srgbClr val="52988C"/>
      </a:accent4>
      <a:accent5>
        <a:srgbClr val="A1C89C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05969014D424BA4F066F19572D350" ma:contentTypeVersion="2" ma:contentTypeDescription="Crée un document." ma:contentTypeScope="" ma:versionID="aeae49d476b6e2d3cda29a803a80cd25">
  <xsd:schema xmlns:xsd="http://www.w3.org/2001/XMLSchema" xmlns:xs="http://www.w3.org/2001/XMLSchema" xmlns:p="http://schemas.microsoft.com/office/2006/metadata/properties" xmlns:ns2="ecdb7145-49fd-4594-9b49-c2a94d472bf0" targetNamespace="http://schemas.microsoft.com/office/2006/metadata/properties" ma:root="true" ma:fieldsID="9d777d1e8776ea213d2a0bab13a84a90" ns2:_="">
    <xsd:import namespace="ecdb7145-49fd-4594-9b49-c2a94d472b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db7145-49fd-4594-9b49-c2a94d472b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468619D-BC76-4CD8-83D0-9F1C1307A94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7278410-9FE7-4CF8-AF31-8DC8E91596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cdb7145-49fd-4594-9b49-c2a94d472b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0A965FC-EB3B-4AB1-B085-016FAC752003}">
  <ds:schemaRefs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dcmitype/"/>
    <ds:schemaRef ds:uri="ecdb7145-49fd-4594-9b49-c2a94d472bf0"/>
    <ds:schemaRef ds:uri="http://purl.org/dc/terms/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831</TotalTime>
  <Words>1232</Words>
  <Application>Microsoft Office PowerPoint</Application>
  <PresentationFormat>Widescreen</PresentationFormat>
  <Paragraphs>238</Paragraphs>
  <Slides>18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9" baseType="lpstr">
      <vt:lpstr>Arial</vt:lpstr>
      <vt:lpstr>Arial Black</vt:lpstr>
      <vt:lpstr>Calibri</vt:lpstr>
      <vt:lpstr>Calibri Light</vt:lpstr>
      <vt:lpstr>Graphik</vt:lpstr>
      <vt:lpstr>Graphik Black</vt:lpstr>
      <vt:lpstr>Titles</vt:lpstr>
      <vt:lpstr>Content Layouts</vt:lpstr>
      <vt:lpstr>Office Theme</vt:lpstr>
      <vt:lpstr>1_Office Theme</vt:lpstr>
      <vt:lpstr>think-cell Slide</vt:lpstr>
      <vt:lpstr>PowerPoint Presentation</vt:lpstr>
      <vt:lpstr>Agenda </vt:lpstr>
      <vt:lpstr>PowerPoint Presentation</vt:lpstr>
      <vt:lpstr>Hackathon Objectives  We need to be able to calculate an “Eco Score” without having bees on site</vt:lpstr>
      <vt:lpstr>Hackathon Objectives  So what Data do we have at our disposal?</vt:lpstr>
      <vt:lpstr>So what Data do we have at our disposal?</vt:lpstr>
      <vt:lpstr>Hackathon Objectives Eco Score break down </vt:lpstr>
      <vt:lpstr>Hackathon Objectives Basic Analytics Hypothesis  - example for pesticides</vt:lpstr>
      <vt:lpstr>Teaming &amp; Organization Teaming Setup – Four mixed teams for this week</vt:lpstr>
      <vt:lpstr>Teaming &amp; Organization Demo moment &amp; intermediate checkpoint &amp; how to communicate </vt:lpstr>
      <vt:lpstr>Teaming &amp; Organization What software &amp; cloud can you use?</vt:lpstr>
      <vt:lpstr>Data Set Introduction  </vt:lpstr>
      <vt:lpstr>Heavy Metals &amp; Pesticides  </vt:lpstr>
      <vt:lpstr>Data Science modeling considerations (1/2)  </vt:lpstr>
      <vt:lpstr>Data Science modeling considerations (2/2)  </vt:lpstr>
      <vt:lpstr>The Price ?</vt:lpstr>
      <vt:lpstr>Deep Dive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ijn Gysemans</dc:creator>
  <cp:lastModifiedBy>Gysemans, Stijn</cp:lastModifiedBy>
  <cp:revision>3</cp:revision>
  <dcterms:created xsi:type="dcterms:W3CDTF">2020-08-07T14:15:38Z</dcterms:created>
  <dcterms:modified xsi:type="dcterms:W3CDTF">2021-02-08T09:2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E05969014D424BA4F066F19572D350</vt:lpwstr>
  </property>
</Properties>
</file>